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1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</p:sldMasterIdLst>
  <p:notesMasterIdLst>
    <p:notesMasterId r:id="rId24"/>
  </p:notesMasterIdLst>
  <p:sldIdLst>
    <p:sldId id="2147481147" r:id="rId6"/>
    <p:sldId id="2147481129" r:id="rId7"/>
    <p:sldId id="2147481130" r:id="rId8"/>
    <p:sldId id="2147481132" r:id="rId9"/>
    <p:sldId id="2147481145" r:id="rId10"/>
    <p:sldId id="2147481140" r:id="rId11"/>
    <p:sldId id="2147481144" r:id="rId12"/>
    <p:sldId id="2147481133" r:id="rId13"/>
    <p:sldId id="2147481141" r:id="rId14"/>
    <p:sldId id="2147481142" r:id="rId15"/>
    <p:sldId id="2147481135" r:id="rId16"/>
    <p:sldId id="2147481143" r:id="rId17"/>
    <p:sldId id="2147481134" r:id="rId18"/>
    <p:sldId id="2147481146" r:id="rId19"/>
    <p:sldId id="2147481137" r:id="rId20"/>
    <p:sldId id="2147481151" r:id="rId21"/>
    <p:sldId id="2147481148" r:id="rId22"/>
    <p:sldId id="2147481150" r:id="rId23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FFF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5CDDA0-F2EC-44B7-A8BE-F5FA19068D75}" v="2959" dt="2025-10-02T08:23:58.299"/>
    <p1510:client id="{D9DAB028-1B0D-C99D-B3C8-1CD93E145F67}" v="7" dt="2025-10-02T06:55:08.79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57" autoAdjust="0"/>
    <p:restoredTop sz="58959" autoAdjust="0"/>
  </p:normalViewPr>
  <p:slideViewPr>
    <p:cSldViewPr snapToGrid="0">
      <p:cViewPr>
        <p:scale>
          <a:sx n="66" d="100"/>
          <a:sy n="66" d="100"/>
        </p:scale>
        <p:origin x="2628" y="4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30CF3B-9537-4309-8190-9281DCAE16F9}" type="doc">
      <dgm:prSet loTypeId="urn:microsoft.com/office/officeart/2005/8/layout/pyramid2" loCatId="pyramid" qsTypeId="urn:microsoft.com/office/officeart/2005/8/quickstyle/simple1" qsCatId="simple" csTypeId="urn:microsoft.com/office/officeart/2005/8/colors/accent1_2" csCatId="accent1" phldr="1"/>
      <dgm:spPr/>
    </dgm:pt>
    <dgm:pt modelId="{5D006161-FE31-4C47-833D-C914AD59E411}">
      <dgm:prSet phldrT="[Tekst]" custT="1"/>
      <dgm:spPr>
        <a:solidFill>
          <a:srgbClr val="AFFFD1"/>
        </a:solidFill>
      </dgm:spPr>
      <dgm:t>
        <a:bodyPr/>
        <a:lstStyle/>
        <a:p>
          <a:r>
            <a:rPr lang="pl-PL" sz="1400" dirty="0">
              <a:latin typeface="Athletics Bold" panose="02000000000000000000" pitchFamily="50" charset="0"/>
            </a:rPr>
            <a:t>EFEKTY </a:t>
          </a:r>
        </a:p>
        <a:p>
          <a:r>
            <a:rPr lang="pl-PL" sz="1400" dirty="0">
              <a:latin typeface="Athletics Bold" panose="02000000000000000000" pitchFamily="50" charset="0"/>
            </a:rPr>
            <a:t>BIZNESOWE </a:t>
          </a:r>
        </a:p>
      </dgm:t>
    </dgm:pt>
    <dgm:pt modelId="{C50BF65A-BEA9-4116-B376-956BDDCC065D}" type="parTrans" cxnId="{8D24F857-196A-4024-9272-68A98B83D7E6}">
      <dgm:prSet/>
      <dgm:spPr/>
      <dgm:t>
        <a:bodyPr/>
        <a:lstStyle/>
        <a:p>
          <a:endParaRPr lang="pl-PL"/>
        </a:p>
      </dgm:t>
    </dgm:pt>
    <dgm:pt modelId="{731C2B75-9996-4767-847C-733E4BF44A9F}" type="sibTrans" cxnId="{8D24F857-196A-4024-9272-68A98B83D7E6}">
      <dgm:prSet/>
      <dgm:spPr/>
      <dgm:t>
        <a:bodyPr/>
        <a:lstStyle/>
        <a:p>
          <a:endParaRPr lang="pl-PL"/>
        </a:p>
      </dgm:t>
    </dgm:pt>
    <dgm:pt modelId="{9BCAAF21-F7FD-4C5C-A129-6FAAABFCD249}">
      <dgm:prSet phldrT="[Tekst]" custT="1"/>
      <dgm:spPr>
        <a:solidFill>
          <a:schemeClr val="accent3"/>
        </a:solidFill>
      </dgm:spPr>
      <dgm:t>
        <a:bodyPr/>
        <a:lstStyle/>
        <a:p>
          <a:r>
            <a:rPr lang="pl-PL" sz="1400" dirty="0">
              <a:latin typeface="Athletics Bold" panose="02000000000000000000" pitchFamily="50" charset="0"/>
            </a:rPr>
            <a:t>SZKOLENIA PRACOWNIKÓW</a:t>
          </a:r>
        </a:p>
      </dgm:t>
    </dgm:pt>
    <dgm:pt modelId="{C434FFDD-C2D4-4E1C-A436-08E8475CC7B1}" type="parTrans" cxnId="{56B10F07-CCB0-4E17-96B4-8B9A2EB13292}">
      <dgm:prSet/>
      <dgm:spPr/>
      <dgm:t>
        <a:bodyPr/>
        <a:lstStyle/>
        <a:p>
          <a:endParaRPr lang="pl-PL"/>
        </a:p>
      </dgm:t>
    </dgm:pt>
    <dgm:pt modelId="{38F63E77-EE8D-4334-A146-9706F0BC0AD9}" type="sibTrans" cxnId="{56B10F07-CCB0-4E17-96B4-8B9A2EB13292}">
      <dgm:prSet/>
      <dgm:spPr/>
      <dgm:t>
        <a:bodyPr/>
        <a:lstStyle/>
        <a:p>
          <a:endParaRPr lang="pl-PL"/>
        </a:p>
      </dgm:t>
    </dgm:pt>
    <dgm:pt modelId="{F9BBE85C-7E48-495E-B186-85C377233003}">
      <dgm:prSet phldrT="[Tekst]" custT="1"/>
      <dgm:spPr>
        <a:solidFill>
          <a:schemeClr val="accent6"/>
        </a:solidFill>
      </dgm:spPr>
      <dgm:t>
        <a:bodyPr/>
        <a:lstStyle/>
        <a:p>
          <a:r>
            <a:rPr lang="pl-PL" sz="1400" dirty="0">
              <a:latin typeface="Athletics Bold" panose="02000000000000000000" pitchFamily="50" charset="0"/>
            </a:rPr>
            <a:t>WDROŻENIE BEZPIECZNYCH NARZĘDZI AI </a:t>
          </a:r>
        </a:p>
      </dgm:t>
    </dgm:pt>
    <dgm:pt modelId="{62C6CFA9-40C1-46EC-B950-EE3EFF189C26}" type="parTrans" cxnId="{020DCD63-EDA3-4781-A399-82712CFDE8FD}">
      <dgm:prSet/>
      <dgm:spPr/>
      <dgm:t>
        <a:bodyPr/>
        <a:lstStyle/>
        <a:p>
          <a:endParaRPr lang="pl-PL"/>
        </a:p>
      </dgm:t>
    </dgm:pt>
    <dgm:pt modelId="{A03C059D-D9E1-4786-8392-424A6F2083E0}" type="sibTrans" cxnId="{020DCD63-EDA3-4781-A399-82712CFDE8FD}">
      <dgm:prSet/>
      <dgm:spPr/>
      <dgm:t>
        <a:bodyPr/>
        <a:lstStyle/>
        <a:p>
          <a:endParaRPr lang="pl-PL"/>
        </a:p>
      </dgm:t>
    </dgm:pt>
    <dgm:pt modelId="{88F9A339-E043-4B39-956D-8DB21DDCD2F8}">
      <dgm:prSet phldrT="[Tekst]" custT="1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pl-PL" sz="1400" dirty="0">
              <a:latin typeface="Athletics Bold" panose="02000000000000000000" pitchFamily="50" charset="0"/>
            </a:rPr>
            <a:t>AKTYWIZACJA PRACOWNIKÓW</a:t>
          </a:r>
        </a:p>
      </dgm:t>
    </dgm:pt>
    <dgm:pt modelId="{B62E05D8-3CB9-4415-885C-F97293203485}" type="parTrans" cxnId="{34E3A9DB-E9D6-4053-A6CD-1AAD80DEAEA8}">
      <dgm:prSet/>
      <dgm:spPr/>
      <dgm:t>
        <a:bodyPr/>
        <a:lstStyle/>
        <a:p>
          <a:endParaRPr lang="pl-PL"/>
        </a:p>
      </dgm:t>
    </dgm:pt>
    <dgm:pt modelId="{CC04778B-AA9B-4BB0-8B1B-0BE207561F0F}" type="sibTrans" cxnId="{34E3A9DB-E9D6-4053-A6CD-1AAD80DEAEA8}">
      <dgm:prSet/>
      <dgm:spPr/>
      <dgm:t>
        <a:bodyPr/>
        <a:lstStyle/>
        <a:p>
          <a:endParaRPr lang="pl-PL"/>
        </a:p>
      </dgm:t>
    </dgm:pt>
    <dgm:pt modelId="{AED6CF63-D897-4CFD-A8A9-744ADC101D42}" type="pres">
      <dgm:prSet presAssocID="{0130CF3B-9537-4309-8190-9281DCAE16F9}" presName="compositeShape" presStyleCnt="0">
        <dgm:presLayoutVars>
          <dgm:dir/>
          <dgm:resizeHandles/>
        </dgm:presLayoutVars>
      </dgm:prSet>
      <dgm:spPr/>
    </dgm:pt>
    <dgm:pt modelId="{F8D6B8EF-3B38-4928-992D-F138A5B47CCC}" type="pres">
      <dgm:prSet presAssocID="{0130CF3B-9537-4309-8190-9281DCAE16F9}" presName="pyramid" presStyleLbl="node1" presStyleIdx="0" presStyleCnt="1"/>
      <dgm:spPr/>
    </dgm:pt>
    <dgm:pt modelId="{807339D6-490B-4CF6-A16E-586B17F2BA7D}" type="pres">
      <dgm:prSet presAssocID="{0130CF3B-9537-4309-8190-9281DCAE16F9}" presName="theList" presStyleCnt="0"/>
      <dgm:spPr/>
    </dgm:pt>
    <dgm:pt modelId="{E692CF5B-1811-4997-8E63-60C4E7E95985}" type="pres">
      <dgm:prSet presAssocID="{5D006161-FE31-4C47-833D-C914AD59E411}" presName="aNode" presStyleLbl="fgAcc1" presStyleIdx="0" presStyleCnt="4">
        <dgm:presLayoutVars>
          <dgm:bulletEnabled val="1"/>
        </dgm:presLayoutVars>
      </dgm:prSet>
      <dgm:spPr/>
    </dgm:pt>
    <dgm:pt modelId="{FC9395E0-ECC6-4F03-8D60-5101C26D54BE}" type="pres">
      <dgm:prSet presAssocID="{5D006161-FE31-4C47-833D-C914AD59E411}" presName="aSpace" presStyleCnt="0"/>
      <dgm:spPr/>
    </dgm:pt>
    <dgm:pt modelId="{FBE1C661-E138-4280-A950-70C6C3AE8F60}" type="pres">
      <dgm:prSet presAssocID="{88F9A339-E043-4B39-956D-8DB21DDCD2F8}" presName="aNode" presStyleLbl="fgAcc1" presStyleIdx="1" presStyleCnt="4">
        <dgm:presLayoutVars>
          <dgm:bulletEnabled val="1"/>
        </dgm:presLayoutVars>
      </dgm:prSet>
      <dgm:spPr/>
    </dgm:pt>
    <dgm:pt modelId="{A2623115-7217-491A-A1A5-54B46CCFFC32}" type="pres">
      <dgm:prSet presAssocID="{88F9A339-E043-4B39-956D-8DB21DDCD2F8}" presName="aSpace" presStyleCnt="0"/>
      <dgm:spPr/>
    </dgm:pt>
    <dgm:pt modelId="{80A11DA8-5BE2-4234-9175-CF1E0C2FDE33}" type="pres">
      <dgm:prSet presAssocID="{9BCAAF21-F7FD-4C5C-A129-6FAAABFCD249}" presName="aNode" presStyleLbl="fgAcc1" presStyleIdx="2" presStyleCnt="4">
        <dgm:presLayoutVars>
          <dgm:bulletEnabled val="1"/>
        </dgm:presLayoutVars>
      </dgm:prSet>
      <dgm:spPr/>
    </dgm:pt>
    <dgm:pt modelId="{5B6C643D-D828-4B4F-8734-16CC829C3806}" type="pres">
      <dgm:prSet presAssocID="{9BCAAF21-F7FD-4C5C-A129-6FAAABFCD249}" presName="aSpace" presStyleCnt="0"/>
      <dgm:spPr/>
    </dgm:pt>
    <dgm:pt modelId="{43645D1A-6E10-4BC6-98C8-F5A25116DC97}" type="pres">
      <dgm:prSet presAssocID="{F9BBE85C-7E48-495E-B186-85C377233003}" presName="aNode" presStyleLbl="fgAcc1" presStyleIdx="3" presStyleCnt="4">
        <dgm:presLayoutVars>
          <dgm:bulletEnabled val="1"/>
        </dgm:presLayoutVars>
      </dgm:prSet>
      <dgm:spPr/>
    </dgm:pt>
    <dgm:pt modelId="{A0FA9ECD-F66F-4583-A6DA-A93024A1D9B0}" type="pres">
      <dgm:prSet presAssocID="{F9BBE85C-7E48-495E-B186-85C377233003}" presName="aSpace" presStyleCnt="0"/>
      <dgm:spPr/>
    </dgm:pt>
  </dgm:ptLst>
  <dgm:cxnLst>
    <dgm:cxn modelId="{56B10F07-CCB0-4E17-96B4-8B9A2EB13292}" srcId="{0130CF3B-9537-4309-8190-9281DCAE16F9}" destId="{9BCAAF21-F7FD-4C5C-A129-6FAAABFCD249}" srcOrd="2" destOrd="0" parTransId="{C434FFDD-C2D4-4E1C-A436-08E8475CC7B1}" sibTransId="{38F63E77-EE8D-4334-A146-9706F0BC0AD9}"/>
    <dgm:cxn modelId="{43A7EF15-29F7-45B9-BF90-C13CE7F6E369}" type="presOf" srcId="{F9BBE85C-7E48-495E-B186-85C377233003}" destId="{43645D1A-6E10-4BC6-98C8-F5A25116DC97}" srcOrd="0" destOrd="0" presId="urn:microsoft.com/office/officeart/2005/8/layout/pyramid2"/>
    <dgm:cxn modelId="{020DCD63-EDA3-4781-A399-82712CFDE8FD}" srcId="{0130CF3B-9537-4309-8190-9281DCAE16F9}" destId="{F9BBE85C-7E48-495E-B186-85C377233003}" srcOrd="3" destOrd="0" parTransId="{62C6CFA9-40C1-46EC-B950-EE3EFF189C26}" sibTransId="{A03C059D-D9E1-4786-8392-424A6F2083E0}"/>
    <dgm:cxn modelId="{8D24F857-196A-4024-9272-68A98B83D7E6}" srcId="{0130CF3B-9537-4309-8190-9281DCAE16F9}" destId="{5D006161-FE31-4C47-833D-C914AD59E411}" srcOrd="0" destOrd="0" parTransId="{C50BF65A-BEA9-4116-B376-956BDDCC065D}" sibTransId="{731C2B75-9996-4767-847C-733E4BF44A9F}"/>
    <dgm:cxn modelId="{1186B078-3B55-489B-A0A6-5F9514CE9730}" type="presOf" srcId="{5D006161-FE31-4C47-833D-C914AD59E411}" destId="{E692CF5B-1811-4997-8E63-60C4E7E95985}" srcOrd="0" destOrd="0" presId="urn:microsoft.com/office/officeart/2005/8/layout/pyramid2"/>
    <dgm:cxn modelId="{07EA66BA-26C0-44CE-8346-DABB25C18743}" type="presOf" srcId="{9BCAAF21-F7FD-4C5C-A129-6FAAABFCD249}" destId="{80A11DA8-5BE2-4234-9175-CF1E0C2FDE33}" srcOrd="0" destOrd="0" presId="urn:microsoft.com/office/officeart/2005/8/layout/pyramid2"/>
    <dgm:cxn modelId="{AEDCC5D0-FA55-499A-BC30-C3F0C2E7BBC9}" type="presOf" srcId="{0130CF3B-9537-4309-8190-9281DCAE16F9}" destId="{AED6CF63-D897-4CFD-A8A9-744ADC101D42}" srcOrd="0" destOrd="0" presId="urn:microsoft.com/office/officeart/2005/8/layout/pyramid2"/>
    <dgm:cxn modelId="{34E3A9DB-E9D6-4053-A6CD-1AAD80DEAEA8}" srcId="{0130CF3B-9537-4309-8190-9281DCAE16F9}" destId="{88F9A339-E043-4B39-956D-8DB21DDCD2F8}" srcOrd="1" destOrd="0" parTransId="{B62E05D8-3CB9-4415-885C-F97293203485}" sibTransId="{CC04778B-AA9B-4BB0-8B1B-0BE207561F0F}"/>
    <dgm:cxn modelId="{525C40FC-FB1E-4883-810A-5AE683E406C3}" type="presOf" srcId="{88F9A339-E043-4B39-956D-8DB21DDCD2F8}" destId="{FBE1C661-E138-4280-A950-70C6C3AE8F60}" srcOrd="0" destOrd="0" presId="urn:microsoft.com/office/officeart/2005/8/layout/pyramid2"/>
    <dgm:cxn modelId="{1CD9D404-424B-46D0-A233-140A141A04CF}" type="presParOf" srcId="{AED6CF63-D897-4CFD-A8A9-744ADC101D42}" destId="{F8D6B8EF-3B38-4928-992D-F138A5B47CCC}" srcOrd="0" destOrd="0" presId="urn:microsoft.com/office/officeart/2005/8/layout/pyramid2"/>
    <dgm:cxn modelId="{FCC003B4-7AFE-4024-A47A-00A58B41F439}" type="presParOf" srcId="{AED6CF63-D897-4CFD-A8A9-744ADC101D42}" destId="{807339D6-490B-4CF6-A16E-586B17F2BA7D}" srcOrd="1" destOrd="0" presId="urn:microsoft.com/office/officeart/2005/8/layout/pyramid2"/>
    <dgm:cxn modelId="{5F24DCDF-0663-430B-84CB-B1BE851A2DDB}" type="presParOf" srcId="{807339D6-490B-4CF6-A16E-586B17F2BA7D}" destId="{E692CF5B-1811-4997-8E63-60C4E7E95985}" srcOrd="0" destOrd="0" presId="urn:microsoft.com/office/officeart/2005/8/layout/pyramid2"/>
    <dgm:cxn modelId="{0CE16C1D-0F66-49D9-ADC2-18D9F634B312}" type="presParOf" srcId="{807339D6-490B-4CF6-A16E-586B17F2BA7D}" destId="{FC9395E0-ECC6-4F03-8D60-5101C26D54BE}" srcOrd="1" destOrd="0" presId="urn:microsoft.com/office/officeart/2005/8/layout/pyramid2"/>
    <dgm:cxn modelId="{580E1FCA-5FAE-4D4D-89DB-91CE6205F2DB}" type="presParOf" srcId="{807339D6-490B-4CF6-A16E-586B17F2BA7D}" destId="{FBE1C661-E138-4280-A950-70C6C3AE8F60}" srcOrd="2" destOrd="0" presId="urn:microsoft.com/office/officeart/2005/8/layout/pyramid2"/>
    <dgm:cxn modelId="{A8671773-4193-4C48-A700-CA8B9D30E023}" type="presParOf" srcId="{807339D6-490B-4CF6-A16E-586B17F2BA7D}" destId="{A2623115-7217-491A-A1A5-54B46CCFFC32}" srcOrd="3" destOrd="0" presId="urn:microsoft.com/office/officeart/2005/8/layout/pyramid2"/>
    <dgm:cxn modelId="{9F57D773-6AF6-4E29-BA98-207EB118750E}" type="presParOf" srcId="{807339D6-490B-4CF6-A16E-586B17F2BA7D}" destId="{80A11DA8-5BE2-4234-9175-CF1E0C2FDE33}" srcOrd="4" destOrd="0" presId="urn:microsoft.com/office/officeart/2005/8/layout/pyramid2"/>
    <dgm:cxn modelId="{848D217D-5D47-4A22-94E0-2E9D46192FFA}" type="presParOf" srcId="{807339D6-490B-4CF6-A16E-586B17F2BA7D}" destId="{5B6C643D-D828-4B4F-8734-16CC829C3806}" srcOrd="5" destOrd="0" presId="urn:microsoft.com/office/officeart/2005/8/layout/pyramid2"/>
    <dgm:cxn modelId="{A1AF457D-5586-4F9F-97DB-5A32A36218D6}" type="presParOf" srcId="{807339D6-490B-4CF6-A16E-586B17F2BA7D}" destId="{43645D1A-6E10-4BC6-98C8-F5A25116DC97}" srcOrd="6" destOrd="0" presId="urn:microsoft.com/office/officeart/2005/8/layout/pyramid2"/>
    <dgm:cxn modelId="{BA1D41B2-8E38-4C0B-848F-575448481B1E}" type="presParOf" srcId="{807339D6-490B-4CF6-A16E-586B17F2BA7D}" destId="{A0FA9ECD-F66F-4583-A6DA-A93024A1D9B0}" srcOrd="7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5553E70-952D-4009-B147-20B583FB1F56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D7C2AFE3-EE66-4A0E-B931-D221906DDEFB}">
      <dgm:prSet phldrT="[Tekst]"/>
      <dgm:spPr>
        <a:ln>
          <a:solidFill>
            <a:schemeClr val="accent6"/>
          </a:solidFill>
        </a:ln>
      </dgm:spPr>
      <dgm:t>
        <a:bodyPr/>
        <a:lstStyle/>
        <a:p>
          <a:r>
            <a:rPr lang="pl-PL" b="1" dirty="0">
              <a:latin typeface="+mj-lt"/>
            </a:rPr>
            <a:t>FILMY INSTRUKTAŻOWE </a:t>
          </a:r>
        </a:p>
      </dgm:t>
    </dgm:pt>
    <dgm:pt modelId="{EEBA6EC4-64FA-4B93-B012-640B08BE0B62}" type="parTrans" cxnId="{870492C3-1368-4506-9383-C17590CDA295}">
      <dgm:prSet/>
      <dgm:spPr/>
      <dgm:t>
        <a:bodyPr/>
        <a:lstStyle/>
        <a:p>
          <a:endParaRPr lang="pl-PL"/>
        </a:p>
      </dgm:t>
    </dgm:pt>
    <dgm:pt modelId="{77A49921-A45B-4845-AD39-6737D08A8F20}" type="sibTrans" cxnId="{870492C3-1368-4506-9383-C17590CDA295}">
      <dgm:prSet/>
      <dgm:spPr/>
      <dgm:t>
        <a:bodyPr/>
        <a:lstStyle/>
        <a:p>
          <a:endParaRPr lang="pl-PL"/>
        </a:p>
      </dgm:t>
    </dgm:pt>
    <dgm:pt modelId="{3E126840-079D-4148-805E-0130B73142C2}">
      <dgm:prSet phldrT="[Tekst]"/>
      <dgm:spPr>
        <a:ln>
          <a:solidFill>
            <a:srgbClr val="AFFFD1"/>
          </a:solidFill>
        </a:ln>
      </dgm:spPr>
      <dgm:t>
        <a:bodyPr/>
        <a:lstStyle/>
        <a:p>
          <a:r>
            <a:rPr lang="pl-PL" b="1" dirty="0">
              <a:latin typeface="+mj-lt"/>
            </a:rPr>
            <a:t>WEBINARY</a:t>
          </a:r>
        </a:p>
      </dgm:t>
    </dgm:pt>
    <dgm:pt modelId="{D7D362F5-5743-47F2-8784-BBD4CFF4A963}" type="parTrans" cxnId="{291CC7D9-8CB8-4FA6-B331-5FD1E9BE4C79}">
      <dgm:prSet/>
      <dgm:spPr/>
      <dgm:t>
        <a:bodyPr/>
        <a:lstStyle/>
        <a:p>
          <a:endParaRPr lang="pl-PL"/>
        </a:p>
      </dgm:t>
    </dgm:pt>
    <dgm:pt modelId="{928D8413-34DB-4368-BD39-4B8D88CE117D}" type="sibTrans" cxnId="{291CC7D9-8CB8-4FA6-B331-5FD1E9BE4C79}">
      <dgm:prSet/>
      <dgm:spPr/>
      <dgm:t>
        <a:bodyPr/>
        <a:lstStyle/>
        <a:p>
          <a:endParaRPr lang="pl-PL"/>
        </a:p>
      </dgm:t>
    </dgm:pt>
    <dgm:pt modelId="{45822E86-7558-4D64-B9AB-D9495A851085}">
      <dgm:prSet phldrT="[Tekst]"/>
      <dgm:spPr>
        <a:ln>
          <a:solidFill>
            <a:schemeClr val="accent3"/>
          </a:solidFill>
        </a:ln>
      </dgm:spPr>
      <dgm:t>
        <a:bodyPr/>
        <a:lstStyle/>
        <a:p>
          <a:r>
            <a:rPr lang="pl-PL" b="1" dirty="0">
              <a:latin typeface="+mj-lt"/>
            </a:rPr>
            <a:t>MATERIAŁY EDUKACYJNE</a:t>
          </a:r>
        </a:p>
      </dgm:t>
    </dgm:pt>
    <dgm:pt modelId="{044D7AC0-E24C-40B2-AD35-4ECE6DD041EC}" type="parTrans" cxnId="{1F7F5B80-3061-4A4D-8944-6755ABA914C5}">
      <dgm:prSet/>
      <dgm:spPr/>
      <dgm:t>
        <a:bodyPr/>
        <a:lstStyle/>
        <a:p>
          <a:endParaRPr lang="pl-PL"/>
        </a:p>
      </dgm:t>
    </dgm:pt>
    <dgm:pt modelId="{88AFF090-53AC-4CDF-AFF1-0F9878F25E87}" type="sibTrans" cxnId="{1F7F5B80-3061-4A4D-8944-6755ABA914C5}">
      <dgm:prSet/>
      <dgm:spPr/>
      <dgm:t>
        <a:bodyPr/>
        <a:lstStyle/>
        <a:p>
          <a:endParaRPr lang="pl-PL"/>
        </a:p>
      </dgm:t>
    </dgm:pt>
    <dgm:pt modelId="{EED9569C-0BE9-4013-A93C-B35028968B53}" type="pres">
      <dgm:prSet presAssocID="{15553E70-952D-4009-B147-20B583FB1F56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43FB0810-C237-4E40-A71D-54EBCB23C02C}" type="pres">
      <dgm:prSet presAssocID="{D7C2AFE3-EE66-4A0E-B931-D221906DDEFB}" presName="gear1" presStyleLbl="node1" presStyleIdx="0" presStyleCnt="3">
        <dgm:presLayoutVars>
          <dgm:chMax val="1"/>
          <dgm:bulletEnabled val="1"/>
        </dgm:presLayoutVars>
      </dgm:prSet>
      <dgm:spPr/>
    </dgm:pt>
    <dgm:pt modelId="{8B82D278-3076-4846-96FC-BB3CDE5FB98A}" type="pres">
      <dgm:prSet presAssocID="{D7C2AFE3-EE66-4A0E-B931-D221906DDEFB}" presName="gear1srcNode" presStyleLbl="node1" presStyleIdx="0" presStyleCnt="3"/>
      <dgm:spPr/>
    </dgm:pt>
    <dgm:pt modelId="{9BF9AF38-9EF7-49D7-9FAB-141754515794}" type="pres">
      <dgm:prSet presAssocID="{D7C2AFE3-EE66-4A0E-B931-D221906DDEFB}" presName="gear1dstNode" presStyleLbl="node1" presStyleIdx="0" presStyleCnt="3"/>
      <dgm:spPr/>
    </dgm:pt>
    <dgm:pt modelId="{FA901DE0-7381-4C18-A0CE-0175DC57865F}" type="pres">
      <dgm:prSet presAssocID="{3E126840-079D-4148-805E-0130B73142C2}" presName="gear2" presStyleLbl="node1" presStyleIdx="1" presStyleCnt="3">
        <dgm:presLayoutVars>
          <dgm:chMax val="1"/>
          <dgm:bulletEnabled val="1"/>
        </dgm:presLayoutVars>
      </dgm:prSet>
      <dgm:spPr/>
    </dgm:pt>
    <dgm:pt modelId="{1C036C94-9127-4EF3-949A-1A176C44D2CA}" type="pres">
      <dgm:prSet presAssocID="{3E126840-079D-4148-805E-0130B73142C2}" presName="gear2srcNode" presStyleLbl="node1" presStyleIdx="1" presStyleCnt="3"/>
      <dgm:spPr/>
    </dgm:pt>
    <dgm:pt modelId="{6E4599B3-B78F-4F0F-8009-B48D3E097741}" type="pres">
      <dgm:prSet presAssocID="{3E126840-079D-4148-805E-0130B73142C2}" presName="gear2dstNode" presStyleLbl="node1" presStyleIdx="1" presStyleCnt="3"/>
      <dgm:spPr/>
    </dgm:pt>
    <dgm:pt modelId="{DA1A1555-9F6A-41B1-9B2D-A412C2678FDE}" type="pres">
      <dgm:prSet presAssocID="{45822E86-7558-4D64-B9AB-D9495A851085}" presName="gear3" presStyleLbl="node1" presStyleIdx="2" presStyleCnt="3"/>
      <dgm:spPr/>
    </dgm:pt>
    <dgm:pt modelId="{2C5BDC92-3277-40D3-B4E4-9315483F8B6A}" type="pres">
      <dgm:prSet presAssocID="{45822E86-7558-4D64-B9AB-D9495A851085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B562CAFE-0578-433D-9407-3EB21E54DA86}" type="pres">
      <dgm:prSet presAssocID="{45822E86-7558-4D64-B9AB-D9495A851085}" presName="gear3srcNode" presStyleLbl="node1" presStyleIdx="2" presStyleCnt="3"/>
      <dgm:spPr/>
    </dgm:pt>
    <dgm:pt modelId="{C30A6C3A-9EBD-4D8F-AE61-363931969FAC}" type="pres">
      <dgm:prSet presAssocID="{45822E86-7558-4D64-B9AB-D9495A851085}" presName="gear3dstNode" presStyleLbl="node1" presStyleIdx="2" presStyleCnt="3"/>
      <dgm:spPr/>
    </dgm:pt>
    <dgm:pt modelId="{DB626423-979E-4797-AD67-CF170AB33687}" type="pres">
      <dgm:prSet presAssocID="{77A49921-A45B-4845-AD39-6737D08A8F20}" presName="connector1" presStyleLbl="sibTrans2D1" presStyleIdx="0" presStyleCnt="3"/>
      <dgm:spPr/>
    </dgm:pt>
    <dgm:pt modelId="{C0994AF0-55DF-498B-AE9D-98B737307F59}" type="pres">
      <dgm:prSet presAssocID="{928D8413-34DB-4368-BD39-4B8D88CE117D}" presName="connector2" presStyleLbl="sibTrans2D1" presStyleIdx="1" presStyleCnt="3"/>
      <dgm:spPr/>
    </dgm:pt>
    <dgm:pt modelId="{84A4E6D4-E451-45EF-94F5-0D8B881BDDF5}" type="pres">
      <dgm:prSet presAssocID="{88AFF090-53AC-4CDF-AFF1-0F9878F25E87}" presName="connector3" presStyleLbl="sibTrans2D1" presStyleIdx="2" presStyleCnt="3"/>
      <dgm:spPr/>
    </dgm:pt>
  </dgm:ptLst>
  <dgm:cxnLst>
    <dgm:cxn modelId="{3EA0B619-4998-44DA-9860-7DB48AC88E99}" type="presOf" srcId="{D7C2AFE3-EE66-4A0E-B931-D221906DDEFB}" destId="{9BF9AF38-9EF7-49D7-9FAB-141754515794}" srcOrd="2" destOrd="0" presId="urn:microsoft.com/office/officeart/2005/8/layout/gear1"/>
    <dgm:cxn modelId="{64F8712E-65AB-4DBA-8E6D-F7B9D1C452B4}" type="presOf" srcId="{45822E86-7558-4D64-B9AB-D9495A851085}" destId="{C30A6C3A-9EBD-4D8F-AE61-363931969FAC}" srcOrd="3" destOrd="0" presId="urn:microsoft.com/office/officeart/2005/8/layout/gear1"/>
    <dgm:cxn modelId="{84F26F35-103C-4649-8E7C-4ACAB0F8C785}" type="presOf" srcId="{45822E86-7558-4D64-B9AB-D9495A851085}" destId="{B562CAFE-0578-433D-9407-3EB21E54DA86}" srcOrd="2" destOrd="0" presId="urn:microsoft.com/office/officeart/2005/8/layout/gear1"/>
    <dgm:cxn modelId="{D3231A49-C51E-48A4-A39F-E74A248E6521}" type="presOf" srcId="{88AFF090-53AC-4CDF-AFF1-0F9878F25E87}" destId="{84A4E6D4-E451-45EF-94F5-0D8B881BDDF5}" srcOrd="0" destOrd="0" presId="urn:microsoft.com/office/officeart/2005/8/layout/gear1"/>
    <dgm:cxn modelId="{E1CCDD6D-BAF0-4F71-A449-183197C7FA5C}" type="presOf" srcId="{15553E70-952D-4009-B147-20B583FB1F56}" destId="{EED9569C-0BE9-4013-A93C-B35028968B53}" srcOrd="0" destOrd="0" presId="urn:microsoft.com/office/officeart/2005/8/layout/gear1"/>
    <dgm:cxn modelId="{1F7F5B80-3061-4A4D-8944-6755ABA914C5}" srcId="{15553E70-952D-4009-B147-20B583FB1F56}" destId="{45822E86-7558-4D64-B9AB-D9495A851085}" srcOrd="2" destOrd="0" parTransId="{044D7AC0-E24C-40B2-AD35-4ECE6DD041EC}" sibTransId="{88AFF090-53AC-4CDF-AFF1-0F9878F25E87}"/>
    <dgm:cxn modelId="{1B6E5180-5B7E-4DCF-B0D4-EE4D5012A94B}" type="presOf" srcId="{D7C2AFE3-EE66-4A0E-B931-D221906DDEFB}" destId="{8B82D278-3076-4846-96FC-BB3CDE5FB98A}" srcOrd="1" destOrd="0" presId="urn:microsoft.com/office/officeart/2005/8/layout/gear1"/>
    <dgm:cxn modelId="{80DEF882-3340-47DF-883C-3F7886B16189}" type="presOf" srcId="{45822E86-7558-4D64-B9AB-D9495A851085}" destId="{2C5BDC92-3277-40D3-B4E4-9315483F8B6A}" srcOrd="1" destOrd="0" presId="urn:microsoft.com/office/officeart/2005/8/layout/gear1"/>
    <dgm:cxn modelId="{8159D58A-F160-4C22-A980-C7117E05AF4D}" type="presOf" srcId="{3E126840-079D-4148-805E-0130B73142C2}" destId="{FA901DE0-7381-4C18-A0CE-0175DC57865F}" srcOrd="0" destOrd="0" presId="urn:microsoft.com/office/officeart/2005/8/layout/gear1"/>
    <dgm:cxn modelId="{F2078595-C367-4DD4-B88D-D85FF36D5599}" type="presOf" srcId="{77A49921-A45B-4845-AD39-6737D08A8F20}" destId="{DB626423-979E-4797-AD67-CF170AB33687}" srcOrd="0" destOrd="0" presId="urn:microsoft.com/office/officeart/2005/8/layout/gear1"/>
    <dgm:cxn modelId="{5D589BA0-EE14-4189-A10F-80C5F37002AD}" type="presOf" srcId="{928D8413-34DB-4368-BD39-4B8D88CE117D}" destId="{C0994AF0-55DF-498B-AE9D-98B737307F59}" srcOrd="0" destOrd="0" presId="urn:microsoft.com/office/officeart/2005/8/layout/gear1"/>
    <dgm:cxn modelId="{FCB21EC0-3F6B-49D7-A01F-46BA7EE0BD11}" type="presOf" srcId="{3E126840-079D-4148-805E-0130B73142C2}" destId="{6E4599B3-B78F-4F0F-8009-B48D3E097741}" srcOrd="2" destOrd="0" presId="urn:microsoft.com/office/officeart/2005/8/layout/gear1"/>
    <dgm:cxn modelId="{870492C3-1368-4506-9383-C17590CDA295}" srcId="{15553E70-952D-4009-B147-20B583FB1F56}" destId="{D7C2AFE3-EE66-4A0E-B931-D221906DDEFB}" srcOrd="0" destOrd="0" parTransId="{EEBA6EC4-64FA-4B93-B012-640B08BE0B62}" sibTransId="{77A49921-A45B-4845-AD39-6737D08A8F20}"/>
    <dgm:cxn modelId="{AEC653D6-1935-49CF-B691-1C2D1CC1A4D9}" type="presOf" srcId="{D7C2AFE3-EE66-4A0E-B931-D221906DDEFB}" destId="{43FB0810-C237-4E40-A71D-54EBCB23C02C}" srcOrd="0" destOrd="0" presId="urn:microsoft.com/office/officeart/2005/8/layout/gear1"/>
    <dgm:cxn modelId="{291CC7D9-8CB8-4FA6-B331-5FD1E9BE4C79}" srcId="{15553E70-952D-4009-B147-20B583FB1F56}" destId="{3E126840-079D-4148-805E-0130B73142C2}" srcOrd="1" destOrd="0" parTransId="{D7D362F5-5743-47F2-8784-BBD4CFF4A963}" sibTransId="{928D8413-34DB-4368-BD39-4B8D88CE117D}"/>
    <dgm:cxn modelId="{0C50BAF3-8511-4716-B9D3-B5ACDCBE76D7}" type="presOf" srcId="{3E126840-079D-4148-805E-0130B73142C2}" destId="{1C036C94-9127-4EF3-949A-1A176C44D2CA}" srcOrd="1" destOrd="0" presId="urn:microsoft.com/office/officeart/2005/8/layout/gear1"/>
    <dgm:cxn modelId="{6E93B7F8-7C54-4420-AEE7-5A7F29BDCB83}" type="presOf" srcId="{45822E86-7558-4D64-B9AB-D9495A851085}" destId="{DA1A1555-9F6A-41B1-9B2D-A412C2678FDE}" srcOrd="0" destOrd="0" presId="urn:microsoft.com/office/officeart/2005/8/layout/gear1"/>
    <dgm:cxn modelId="{F09E296E-17B1-4C7C-A811-AEE93BB44BE3}" type="presParOf" srcId="{EED9569C-0BE9-4013-A93C-B35028968B53}" destId="{43FB0810-C237-4E40-A71D-54EBCB23C02C}" srcOrd="0" destOrd="0" presId="urn:microsoft.com/office/officeart/2005/8/layout/gear1"/>
    <dgm:cxn modelId="{A71790A8-6BE4-4253-A2AE-D7D7C4F5EC9D}" type="presParOf" srcId="{EED9569C-0BE9-4013-A93C-B35028968B53}" destId="{8B82D278-3076-4846-96FC-BB3CDE5FB98A}" srcOrd="1" destOrd="0" presId="urn:microsoft.com/office/officeart/2005/8/layout/gear1"/>
    <dgm:cxn modelId="{03AADEAA-DB33-4D44-B4A4-1AF1F97226F4}" type="presParOf" srcId="{EED9569C-0BE9-4013-A93C-B35028968B53}" destId="{9BF9AF38-9EF7-49D7-9FAB-141754515794}" srcOrd="2" destOrd="0" presId="urn:microsoft.com/office/officeart/2005/8/layout/gear1"/>
    <dgm:cxn modelId="{AB7E629E-27AE-4CA0-9B4B-B81D55003504}" type="presParOf" srcId="{EED9569C-0BE9-4013-A93C-B35028968B53}" destId="{FA901DE0-7381-4C18-A0CE-0175DC57865F}" srcOrd="3" destOrd="0" presId="urn:microsoft.com/office/officeart/2005/8/layout/gear1"/>
    <dgm:cxn modelId="{CA9E9122-BE94-418D-A8D3-D391F450D1D0}" type="presParOf" srcId="{EED9569C-0BE9-4013-A93C-B35028968B53}" destId="{1C036C94-9127-4EF3-949A-1A176C44D2CA}" srcOrd="4" destOrd="0" presId="urn:microsoft.com/office/officeart/2005/8/layout/gear1"/>
    <dgm:cxn modelId="{04E25B90-CDAA-4402-9B76-11723D104B84}" type="presParOf" srcId="{EED9569C-0BE9-4013-A93C-B35028968B53}" destId="{6E4599B3-B78F-4F0F-8009-B48D3E097741}" srcOrd="5" destOrd="0" presId="urn:microsoft.com/office/officeart/2005/8/layout/gear1"/>
    <dgm:cxn modelId="{5CA89CA9-EB62-4DC8-BA6A-B0CA112D61E5}" type="presParOf" srcId="{EED9569C-0BE9-4013-A93C-B35028968B53}" destId="{DA1A1555-9F6A-41B1-9B2D-A412C2678FDE}" srcOrd="6" destOrd="0" presId="urn:microsoft.com/office/officeart/2005/8/layout/gear1"/>
    <dgm:cxn modelId="{874D7F7B-A48A-43DA-B71B-3CCBA0ECA02E}" type="presParOf" srcId="{EED9569C-0BE9-4013-A93C-B35028968B53}" destId="{2C5BDC92-3277-40D3-B4E4-9315483F8B6A}" srcOrd="7" destOrd="0" presId="urn:microsoft.com/office/officeart/2005/8/layout/gear1"/>
    <dgm:cxn modelId="{90E98039-ADFC-4945-A117-3C39ED98FEE4}" type="presParOf" srcId="{EED9569C-0BE9-4013-A93C-B35028968B53}" destId="{B562CAFE-0578-433D-9407-3EB21E54DA86}" srcOrd="8" destOrd="0" presId="urn:microsoft.com/office/officeart/2005/8/layout/gear1"/>
    <dgm:cxn modelId="{EB00B672-57CE-4CF7-BDA7-6F6EADAD8D7B}" type="presParOf" srcId="{EED9569C-0BE9-4013-A93C-B35028968B53}" destId="{C30A6C3A-9EBD-4D8F-AE61-363931969FAC}" srcOrd="9" destOrd="0" presId="urn:microsoft.com/office/officeart/2005/8/layout/gear1"/>
    <dgm:cxn modelId="{980F3F03-947D-48DD-B353-A2FEC8A0B204}" type="presParOf" srcId="{EED9569C-0BE9-4013-A93C-B35028968B53}" destId="{DB626423-979E-4797-AD67-CF170AB33687}" srcOrd="10" destOrd="0" presId="urn:microsoft.com/office/officeart/2005/8/layout/gear1"/>
    <dgm:cxn modelId="{4D859748-F8CC-4FFE-BFB3-20D1E1E2D860}" type="presParOf" srcId="{EED9569C-0BE9-4013-A93C-B35028968B53}" destId="{C0994AF0-55DF-498B-AE9D-98B737307F59}" srcOrd="11" destOrd="0" presId="urn:microsoft.com/office/officeart/2005/8/layout/gear1"/>
    <dgm:cxn modelId="{8057358F-8598-4A1E-BC78-238846065DF0}" type="presParOf" srcId="{EED9569C-0BE9-4013-A93C-B35028968B53}" destId="{84A4E6D4-E451-45EF-94F5-0D8B881BDDF5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D6B8EF-3B38-4928-992D-F138A5B47CCC}">
      <dsp:nvSpPr>
        <dsp:cNvPr id="0" name=""/>
        <dsp:cNvSpPr/>
      </dsp:nvSpPr>
      <dsp:spPr>
        <a:xfrm>
          <a:off x="0" y="0"/>
          <a:ext cx="4232329" cy="4541612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92CF5B-1811-4997-8E63-60C4E7E95985}">
      <dsp:nvSpPr>
        <dsp:cNvPr id="0" name=""/>
        <dsp:cNvSpPr/>
      </dsp:nvSpPr>
      <dsp:spPr>
        <a:xfrm>
          <a:off x="2116164" y="454604"/>
          <a:ext cx="2751014" cy="807200"/>
        </a:xfrm>
        <a:prstGeom prst="roundRect">
          <a:avLst/>
        </a:prstGeom>
        <a:solidFill>
          <a:srgbClr val="AFFFD1"/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latin typeface="Athletics Bold" panose="02000000000000000000" pitchFamily="50" charset="0"/>
            </a:rPr>
            <a:t>EFEKTY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latin typeface="Athletics Bold" panose="02000000000000000000" pitchFamily="50" charset="0"/>
            </a:rPr>
            <a:t>BIZNESOWE </a:t>
          </a:r>
        </a:p>
      </dsp:txBody>
      <dsp:txXfrm>
        <a:off x="2155568" y="494008"/>
        <a:ext cx="2672206" cy="728392"/>
      </dsp:txXfrm>
    </dsp:sp>
    <dsp:sp modelId="{FBE1C661-E138-4280-A950-70C6C3AE8F60}">
      <dsp:nvSpPr>
        <dsp:cNvPr id="0" name=""/>
        <dsp:cNvSpPr/>
      </dsp:nvSpPr>
      <dsp:spPr>
        <a:xfrm>
          <a:off x="2116164" y="1362705"/>
          <a:ext cx="2751014" cy="807200"/>
        </a:xfrm>
        <a:prstGeom prst="roundRect">
          <a:avLst/>
        </a:prstGeom>
        <a:solidFill>
          <a:schemeClr val="accent5">
            <a:lumMod val="9000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latin typeface="Athletics Bold" panose="02000000000000000000" pitchFamily="50" charset="0"/>
            </a:rPr>
            <a:t>AKTYWIZACJA PRACOWNIKÓW</a:t>
          </a:r>
        </a:p>
      </dsp:txBody>
      <dsp:txXfrm>
        <a:off x="2155568" y="1402109"/>
        <a:ext cx="2672206" cy="728392"/>
      </dsp:txXfrm>
    </dsp:sp>
    <dsp:sp modelId="{80A11DA8-5BE2-4234-9175-CF1E0C2FDE33}">
      <dsp:nvSpPr>
        <dsp:cNvPr id="0" name=""/>
        <dsp:cNvSpPr/>
      </dsp:nvSpPr>
      <dsp:spPr>
        <a:xfrm>
          <a:off x="2116164" y="2270806"/>
          <a:ext cx="2751014" cy="807200"/>
        </a:xfrm>
        <a:prstGeom prst="roundRect">
          <a:avLst/>
        </a:prstGeom>
        <a:solidFill>
          <a:schemeClr val="accent3"/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latin typeface="Athletics Bold" panose="02000000000000000000" pitchFamily="50" charset="0"/>
            </a:rPr>
            <a:t>SZKOLENIA PRACOWNIKÓW</a:t>
          </a:r>
        </a:p>
      </dsp:txBody>
      <dsp:txXfrm>
        <a:off x="2155568" y="2310210"/>
        <a:ext cx="2672206" cy="728392"/>
      </dsp:txXfrm>
    </dsp:sp>
    <dsp:sp modelId="{43645D1A-6E10-4BC6-98C8-F5A25116DC97}">
      <dsp:nvSpPr>
        <dsp:cNvPr id="0" name=""/>
        <dsp:cNvSpPr/>
      </dsp:nvSpPr>
      <dsp:spPr>
        <a:xfrm>
          <a:off x="2116164" y="3178906"/>
          <a:ext cx="2751014" cy="807200"/>
        </a:xfrm>
        <a:prstGeom prst="roundRect">
          <a:avLst/>
        </a:prstGeom>
        <a:solidFill>
          <a:schemeClr val="accent6"/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latin typeface="Athletics Bold" panose="02000000000000000000" pitchFamily="50" charset="0"/>
            </a:rPr>
            <a:t>WDROŻENIE BEZPIECZNYCH NARZĘDZI AI </a:t>
          </a:r>
        </a:p>
      </dsp:txBody>
      <dsp:txXfrm>
        <a:off x="2155568" y="3218310"/>
        <a:ext cx="2672206" cy="7283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FB0810-C237-4E40-A71D-54EBCB23C02C}">
      <dsp:nvSpPr>
        <dsp:cNvPr id="0" name=""/>
        <dsp:cNvSpPr/>
      </dsp:nvSpPr>
      <dsp:spPr>
        <a:xfrm>
          <a:off x="3828405" y="2196881"/>
          <a:ext cx="2685077" cy="2685077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500" b="1" kern="1200" dirty="0">
              <a:latin typeface="+mj-lt"/>
            </a:rPr>
            <a:t>FILMY INSTRUKTAŻOWE </a:t>
          </a:r>
        </a:p>
      </dsp:txBody>
      <dsp:txXfrm>
        <a:off x="4368225" y="2825847"/>
        <a:ext cx="1605437" cy="1380185"/>
      </dsp:txXfrm>
    </dsp:sp>
    <dsp:sp modelId="{FA901DE0-7381-4C18-A0CE-0175DC57865F}">
      <dsp:nvSpPr>
        <dsp:cNvPr id="0" name=""/>
        <dsp:cNvSpPr/>
      </dsp:nvSpPr>
      <dsp:spPr>
        <a:xfrm>
          <a:off x="2266178" y="1562226"/>
          <a:ext cx="1952783" cy="195278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rgbClr val="AFFFD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500" b="1" kern="1200" dirty="0">
              <a:latin typeface="+mj-lt"/>
            </a:rPr>
            <a:t>WEBINARY</a:t>
          </a:r>
        </a:p>
      </dsp:txBody>
      <dsp:txXfrm>
        <a:off x="2757797" y="2056816"/>
        <a:ext cx="969545" cy="963603"/>
      </dsp:txXfrm>
    </dsp:sp>
    <dsp:sp modelId="{DA1A1555-9F6A-41B1-9B2D-A412C2678FDE}">
      <dsp:nvSpPr>
        <dsp:cNvPr id="0" name=""/>
        <dsp:cNvSpPr/>
      </dsp:nvSpPr>
      <dsp:spPr>
        <a:xfrm rot="20700000">
          <a:off x="3359936" y="215005"/>
          <a:ext cx="1913329" cy="1913329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500" b="1" kern="1200" dirty="0">
              <a:latin typeface="+mj-lt"/>
            </a:rPr>
            <a:t>MATERIAŁY EDUKACYJNE</a:t>
          </a:r>
        </a:p>
      </dsp:txBody>
      <dsp:txXfrm rot="-20700000">
        <a:off x="3779585" y="634654"/>
        <a:ext cx="1074030" cy="1074030"/>
      </dsp:txXfrm>
    </dsp:sp>
    <dsp:sp modelId="{DB626423-979E-4797-AD67-CF170AB33687}">
      <dsp:nvSpPr>
        <dsp:cNvPr id="0" name=""/>
        <dsp:cNvSpPr/>
      </dsp:nvSpPr>
      <dsp:spPr>
        <a:xfrm>
          <a:off x="3629562" y="1787360"/>
          <a:ext cx="3436899" cy="3436899"/>
        </a:xfrm>
        <a:prstGeom prst="circularArrow">
          <a:avLst>
            <a:gd name="adj1" fmla="val 4687"/>
            <a:gd name="adj2" fmla="val 299029"/>
            <a:gd name="adj3" fmla="val 2530454"/>
            <a:gd name="adj4" fmla="val 15830833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994AF0-55DF-498B-AE9D-98B737307F59}">
      <dsp:nvSpPr>
        <dsp:cNvPr id="0" name=""/>
        <dsp:cNvSpPr/>
      </dsp:nvSpPr>
      <dsp:spPr>
        <a:xfrm>
          <a:off x="1920344" y="1127198"/>
          <a:ext cx="2497122" cy="2497122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4A4E6D4-E451-45EF-94F5-0D8B881BDDF5}">
      <dsp:nvSpPr>
        <dsp:cNvPr id="0" name=""/>
        <dsp:cNvSpPr/>
      </dsp:nvSpPr>
      <dsp:spPr>
        <a:xfrm>
          <a:off x="2917363" y="-207036"/>
          <a:ext cx="2692400" cy="26924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F84560-F6E3-4FB5-BBC2-61827DEA3236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9B7B2F-7CF7-4D65-8FD1-91B4FCC29CC3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153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602935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Mieliśmy już narzędzia i wiedzę – nasz program szkoleń cały czas się rozwijał. Wiedzieliśmy jednak, że aby AI naprawdę zagościło w codziennej pracy, potrzebujemy jeszcze jednego elementu: </a:t>
            </a:r>
            <a:r>
              <a:rPr lang="pl-PL" b="1" dirty="0"/>
              <a:t>aktywacji i motywacji pracowników.</a:t>
            </a:r>
            <a:br>
              <a:rPr lang="pl-PL" b="1" dirty="0"/>
            </a:br>
            <a:r>
              <a:rPr lang="pl-PL" b="1" dirty="0"/>
              <a:t>Wystartowaliśmy z konkursem - </a:t>
            </a:r>
            <a:r>
              <a:rPr lang="pl-PL" b="1" dirty="0" err="1"/>
              <a:t>Puchaczowe</a:t>
            </a:r>
            <a:r>
              <a:rPr lang="pl-PL" b="1" dirty="0"/>
              <a:t> wyzwania GPT</a:t>
            </a:r>
            <a:r>
              <a:rPr lang="pl-PL" dirty="0"/>
              <a:t>, który stał się dodatkowym impulsem do eksperymentowania z AI.</a:t>
            </a:r>
            <a:br>
              <a:rPr lang="pl-PL" dirty="0"/>
            </a:br>
            <a:r>
              <a:rPr lang="pl-PL" dirty="0"/>
              <a:t> Każdy pracownik mógł zaprojektować własnego bota – a my płaciliśmy za każde jego użycie w przez pracowników, a więc a im częściej był on używany, tym większe nagrody finansowe otrzymywał autor. </a:t>
            </a:r>
            <a:br>
              <a:rPr lang="pl-PL" dirty="0"/>
            </a:br>
            <a:r>
              <a:rPr lang="pl-PL" dirty="0"/>
              <a:t>Przygotowaliśmy także nagrody specjalne dla najbardziej innowacyjnych botów. </a:t>
            </a:r>
            <a:br>
              <a:rPr lang="pl-PL" dirty="0"/>
            </a:br>
            <a:r>
              <a:rPr lang="pl-PL" dirty="0"/>
              <a:t>To rozwiązanie zadziałało perfekcyjnie: pracownicy zyskali motywację, organizacja – setki praktycznych rozwiązań, z których wiele zostało na stałe wdrożonych do pracy banku.</a:t>
            </a:r>
            <a:br>
              <a:rPr lang="pl-PL" dirty="0"/>
            </a:b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137168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 trakcie trwania konkursu powstało 176 botów z przeróżnych dziedzin, które na co dzień wspierają naszą pracę:</a:t>
            </a:r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pl-PL" dirty="0"/>
            </a:br>
            <a:r>
              <a:rPr lang="pl-PL" dirty="0"/>
              <a:t>Boty biznesowe – asystent doradcy wspierający w procesie sprzedażowym </a:t>
            </a:r>
          </a:p>
          <a:p>
            <a:r>
              <a:rPr lang="pl-PL" dirty="0"/>
              <a:t>Audytor prostego języka, bot sprawdzający poprawność procedur w zakresie struktury organizacyjnej</a:t>
            </a:r>
            <a:br>
              <a:rPr lang="pl-PL" dirty="0"/>
            </a:br>
            <a:r>
              <a:rPr lang="pl-PL" dirty="0"/>
              <a:t>Cały szereg botów HR odpowiadających na pytania dot. benefitów, procesu oceny rocznej, prawa pracy</a:t>
            </a:r>
            <a:br>
              <a:rPr lang="pl-PL" dirty="0"/>
            </a:br>
            <a:r>
              <a:rPr lang="pl-PL" dirty="0"/>
              <a:t>Interaktywne instrukcje obsługi systemów</a:t>
            </a:r>
            <a:br>
              <a:rPr lang="pl-PL" dirty="0"/>
            </a:br>
            <a:r>
              <a:rPr lang="pl-PL" dirty="0"/>
              <a:t>Bot wspierający kodowanie w </a:t>
            </a:r>
            <a:r>
              <a:rPr lang="pl-PL" dirty="0" err="1"/>
              <a:t>Pythonie</a:t>
            </a:r>
            <a:r>
              <a:rPr lang="pl-PL" dirty="0"/>
              <a:t>.</a:t>
            </a:r>
          </a:p>
          <a:p>
            <a:br>
              <a:rPr lang="pl-PL" dirty="0"/>
            </a:br>
            <a:br>
              <a:rPr lang="pl-PL" dirty="0"/>
            </a:b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 okresie trwania konkursu „</a:t>
            </a:r>
            <a:r>
              <a:rPr lang="pl-PL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chaczowe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yzwania GPT” liczba botów wzrosła o 95%, a sama liczba użyć </a:t>
            </a:r>
            <a:r>
              <a:rPr lang="pl-PL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Store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zwiększyła się o 400%.</a:t>
            </a:r>
          </a:p>
          <a:p>
            <a:br>
              <a:rPr lang="pl-PL" dirty="0"/>
            </a:br>
            <a:endParaRPr lang="pl-PL" dirty="0"/>
          </a:p>
          <a:p>
            <a:r>
              <a:rPr lang="pl-PL" dirty="0"/>
              <a:t>Konkurs pokazał nam, że </a:t>
            </a:r>
            <a:r>
              <a:rPr lang="pl-PL" b="1" dirty="0"/>
              <a:t>AI to nie tylko efektywność i oszczędność czasu, ale też satysfakcja i duma z własnych innowacji</a:t>
            </a:r>
            <a:r>
              <a:rPr lang="pl-PL" dirty="0"/>
              <a:t>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53768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pl-PL" dirty="0"/>
            </a:br>
            <a:r>
              <a:rPr lang="pl-PL" dirty="0"/>
              <a:t>Dlatego nasza grupa projektowa regularnie spotyka się, aby nie tylko rozwijać nowe pomysły, ale też zastanawiać się, jak popularyzować istniejące rozwiązania.</a:t>
            </a:r>
            <a:br>
              <a:rPr lang="pl-PL" dirty="0"/>
            </a:br>
            <a:r>
              <a:rPr lang="pl-PL" dirty="0"/>
              <a:t>Jednym z elementów naszego projektu było skupienie się na komunikacji. Uruchomiliśmy dedykowaną skrzynkę mailingową – z niej regularnie wysyłamy wiadomości w spójnej, rozpoznawalnej szacie graficznej. Dzięki temu pracownicy wiedzą, że każda informacja o AI to </a:t>
            </a:r>
            <a:r>
              <a:rPr lang="pl-PL" b="1" dirty="0"/>
              <a:t>coś praktycznego i wartościowego dla nich</a:t>
            </a:r>
            <a:r>
              <a:rPr lang="pl-PL" dirty="0"/>
              <a:t>. W prawym górnym rogu możecie zobaczyć przykładowy komunikat mailowy informujący o </a:t>
            </a:r>
            <a:r>
              <a:rPr lang="pl-PL" dirty="0" err="1"/>
              <a:t>webinarze</a:t>
            </a:r>
            <a:r>
              <a:rPr lang="pl-PL" dirty="0"/>
              <a:t>. </a:t>
            </a:r>
            <a:br>
              <a:rPr lang="pl-PL" dirty="0"/>
            </a:br>
            <a:br>
              <a:rPr lang="pl-PL" dirty="0"/>
            </a:br>
            <a:r>
              <a:rPr lang="pl-PL" dirty="0"/>
              <a:t>Na intranecie powstała też specjalna </a:t>
            </a:r>
            <a:r>
              <a:rPr lang="pl-PL" b="1" dirty="0"/>
              <a:t>Strefa AI</a:t>
            </a:r>
            <a:r>
              <a:rPr lang="pl-PL" dirty="0"/>
              <a:t> – miejsce, w którym każdy znajdzie wszystko, czego potrzebuje: opisy narzędzi, instrukcje, poradniki, materiały szkoleniowe, a nawet sekcję Q&amp;A.</a:t>
            </a:r>
            <a:br>
              <a:rPr lang="pl-PL" dirty="0"/>
            </a:br>
            <a:r>
              <a:rPr lang="pl-PL" dirty="0"/>
              <a:t>Dzięki temu pracownicy mają </a:t>
            </a:r>
            <a:r>
              <a:rPr lang="pl-PL" b="1" dirty="0"/>
              <a:t>jedno, zaufane źródło wiedzy</a:t>
            </a:r>
            <a:r>
              <a:rPr lang="pl-PL" dirty="0"/>
              <a:t>, mogą uczyć się we własnym tempie i odkrywać potencjał AI bez barier. To sprawiło, że AI nie jest postrzegane jako „nowinka”, ale jako </a:t>
            </a:r>
            <a:r>
              <a:rPr lang="pl-PL" b="1" dirty="0"/>
              <a:t>stały element naszego środowiska pracy</a:t>
            </a:r>
            <a:r>
              <a:rPr lang="pl-PL" dirty="0"/>
              <a:t>”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047925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dstawowym miernikiem jest </a:t>
            </a:r>
            <a: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kala wykorzystania technologii AI przez pracowników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alizowana jest liczba zapytań kierowanych do Puchacza – średnio wynosi ona około 25 tys. miesięcznie, a w ciągu ostatniego roku wzrosła o ok. 25%, co potwierdza rosnące zainteresowanie i przyjęcie narzędzia w organizacji.</a:t>
            </a:r>
          </a:p>
          <a:p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lejnym wskaźnikiem jest aktywność twórcza pracowników – liczba stworzonych botów i ich użycia w platformie </a:t>
            </a:r>
            <a:r>
              <a:rPr lang="pl-PL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Store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To miernik szczególnie ważny, ponieważ pokazuje nie tylko korzystanie z gotowych funkcji, ale również oddolne zaangażowanie i kreatywność zespołów. W trakcie ostatnich 12 miesięcy </a:t>
            </a:r>
            <a: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si pracownicy stworzyli prawie 500 botów!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 Tak dynamiczny przyrost potwierdza skuteczność działań angażujących oraz praktyczną wartość tworzonych rozwiązań. </a:t>
            </a:r>
          </a:p>
          <a:p>
            <a:endParaRPr lang="pl-P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zwój kompetencji. 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erzalnym elementem projektu była również edukacja pracowników w zakresie AI. W ramach programu zorganizowano 6 szkoleń, </a:t>
            </a:r>
            <a:r>
              <a:rPr lang="pl-PL"/>
              <a:t>stworzyliśmy dedykowaną zakładkę edukacyjną na Intranecie, dołączyliśmy moduł o AI do procesu </a:t>
            </a:r>
            <a:r>
              <a:rPr lang="pl-PL" err="1"/>
              <a:t>onboardingu</a:t>
            </a:r>
            <a:r>
              <a:rPr lang="pl-PL"/>
              <a:t> jako obligatoryjny element wdrożenia- nasz cel to 100% przeszkolonych z AI pracowników.</a:t>
            </a:r>
            <a:r>
              <a:rPr lang="pl-PL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pl-PL"/>
              <a:t>Rozwój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ompetencji cyfrowych </a:t>
            </a:r>
            <a:r>
              <a:rPr lang="pl-PL"/>
              <a:t>jest integralną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zęścią </a:t>
            </a:r>
            <a:r>
              <a:rPr lang="pl-PL"/>
              <a:t>skutecznego wdrażania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owych technologii</a:t>
            </a:r>
            <a:r>
              <a:rPr lang="pl-PL"/>
              <a:t>, ale też budowaniem świadomości i przynależności od kultury organizacyjnej opartej na AI.</a:t>
            </a:r>
            <a:endParaRPr lang="pl-PL" sz="1200" kern="1200">
              <a:solidFill>
                <a:schemeClr val="tx1"/>
              </a:solidFill>
              <a:effectLst/>
              <a:latin typeface="+mn-lt"/>
            </a:endParaRPr>
          </a:p>
          <a:p>
            <a:endParaRPr lang="pl-P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tysfakcja i aktywna postawa. 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otnym źródłem </a:t>
            </a:r>
            <a:r>
              <a:rPr lang="pl-PL"/>
              <a:t>informacji czy idziemy w dobrym kierunku, czy ludzie rezonują z tym co robimy, były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adania opinii pracowników. W corocznej ankiecie zapytaliśmy o odczucia dotyczące kultury AI w organizacji. Wyniki wskazują, że 74% pracowników uważa, iż rozwiązania oparte na technologii cyfrowej i AI wspierają ich codzienną pracę, a 72% dostrzega dalszy potencjał do automatyzacji procesów i wdrażania narzędzi AI. Te wyniki pokazują, że odbiór projektu jest zgodny z zakładanymi celami – AI ma realną wartość i pracownicy widzą przestrzeń do dalszego rozwoju.</a:t>
            </a:r>
            <a:endParaRPr lang="pl-PL" sz="1200" kern="1200">
              <a:solidFill>
                <a:schemeClr val="tx1"/>
              </a:solidFill>
              <a:effectLst/>
              <a:latin typeface="+mn-lt"/>
            </a:endParaRP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647918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dsumowując, wszystkie zakładane rezultaty zostały osiągnięte: </a:t>
            </a:r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 stała się integralnym elementem codziennej pracy w banku – nasi pracownicy chętnie korzystają z AI, jest postrzegane przez nich jest jako realne wsparcie, a nie „kolejne narzędzie do obsługi”. 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ztuczna inteligencja została włączona w procesy biznesowe w skali całej instytucji – od analizy dokumentów, przez raportowanie i tłumaczenia, aż po wsparcie komunikacji. Umożliwiło to realne </a:t>
            </a:r>
            <a:r>
              <a:rPr lang="pl-PL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dciążenie pracowników z powtarzalnych i czasochłonnych czynności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kracając czas realizacji wielu zadań operacyjnych. </a:t>
            </a:r>
            <a:b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zwinęliśmy kompetencje cyfrowe oraz kreatywność - 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przez</a:t>
            </a:r>
            <a:r>
              <a:rPr lang="pl-PL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chęcenie do eksperymentowania z AI. To doświadczenie pokazało, że AI może być źródłem nie tylko oszczędności czasu, ale także satysfakcji i dumy z własnych innowacji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cownicy przestali być wyłącznie użytkownikami narzędzi, a stali się </a:t>
            </a:r>
            <a:r>
              <a:rPr lang="pl-PL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wórcami technologii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o wzmacnia ich zaangażowanie i rozwija kompetencje cyfrowe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zięki Puchaczowi powstał </a:t>
            </a:r>
            <a:r>
              <a:rPr lang="pl-PL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ójny ekosystem AI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w którym narzędzia są bezpieczne, zgodne z regulacjami i ustandaryzowane.  Zapewniło to kontrolę nad wykorzystaniem nowych technologii.</a:t>
            </a:r>
            <a:endParaRPr lang="pl-P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base"/>
            <a:endParaRPr lang="pl-PL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base"/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jekt nie tylko zwiększył efektywność organizacji, lecz także zbudował </a:t>
            </a:r>
            <a:r>
              <a:rPr lang="pl-PL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lturę innowacyjności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w której pracownicy mają realny wpływ na kształtowanie przyszłości bankowości opartej na sztucznej inteligencji. 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781619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waluacja i dalszy rozwój</a:t>
            </a:r>
            <a:r>
              <a:rPr lang="pl-PL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AI na stałe weszło do naszej organizacji i cały czas zwiększamy jego użyteczność. </a:t>
            </a:r>
          </a:p>
          <a:p>
            <a:br>
              <a:rPr lang="pl-PL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sz  interdyscyplinarny zespół projektowy nadal pracuje i generuje kolejne pomysły. </a:t>
            </a:r>
          </a:p>
          <a:p>
            <a:r>
              <a:rPr lang="pl-PL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wadzone są regularne badania opinii i potrzeb pracowników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ągle rozwijamy Puchacza</a:t>
            </a:r>
            <a:r>
              <a:rPr lang="pl-PL" sz="1000"/>
              <a:t>.</a:t>
            </a:r>
            <a:endParaRPr lang="pl-PL" sz="1000" kern="1200">
              <a:solidFill>
                <a:schemeClr val="tx1"/>
              </a:solidFill>
              <a:effectLst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cujemy także nad wdrożeniem Botów, które będą wykorzystywane w procesach szkoleniowych pracowników (Boty do </a:t>
            </a:r>
            <a:r>
              <a:rPr lang="pl-PL" sz="1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pl-PL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earningu)</a:t>
            </a:r>
            <a:endParaRPr lang="pl-PL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ecnie trwają prace nad uruchomieniem </a:t>
            </a:r>
            <a:r>
              <a:rPr lang="pl-PL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ademii AI</a:t>
            </a:r>
            <a:r>
              <a:rPr lang="pl-PL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która będzie wspierać rozwój kompetencji cyfrowych pracowników na różnych poziomach zaawansowania. </a:t>
            </a:r>
          </a:p>
          <a:p>
            <a:endParaRPr lang="pl-PL" sz="10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pl-PL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b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951468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pl-PL" sz="1000" dirty="0">
                <a:latin typeface="Athletics Bold" panose="02000000000000000000" pitchFamily="50" charset="0"/>
              </a:rPr>
              <a:t>Wdrożenie kultury AI przyniosło nam jednak coś więcej. </a:t>
            </a:r>
            <a:br>
              <a:rPr lang="pl-PL" sz="1000" dirty="0">
                <a:latin typeface="Athletics Bold" panose="02000000000000000000" pitchFamily="50" charset="0"/>
              </a:rPr>
            </a:br>
            <a:endParaRPr lang="pl-PL" sz="1000" dirty="0">
              <a:latin typeface="Athletics Bold" panose="02000000000000000000" pitchFamily="50" charset="0"/>
            </a:endParaRPr>
          </a:p>
          <a:p>
            <a:pPr>
              <a:defRPr/>
            </a:pPr>
            <a:r>
              <a:rPr lang="pl-PL" sz="1000" b="1" dirty="0">
                <a:latin typeface="Athletics Bold" panose="02000000000000000000" pitchFamily="50" charset="0"/>
                <a:ea typeface="Inter"/>
                <a:cs typeface="Inter"/>
              </a:rPr>
              <a:t>Najlepsze technologie przyciągają największe talenty, tworzą </a:t>
            </a:r>
            <a:r>
              <a:rPr lang="pl-PL" sz="1000" b="1" dirty="0" err="1">
                <a:latin typeface="Athletics Bold" panose="02000000000000000000" pitchFamily="50" charset="0"/>
                <a:ea typeface="Inter"/>
                <a:cs typeface="Inter"/>
              </a:rPr>
              <a:t>atracyjne</a:t>
            </a:r>
            <a:r>
              <a:rPr lang="pl-PL" sz="1000" b="1" dirty="0">
                <a:latin typeface="Athletics Bold" panose="02000000000000000000" pitchFamily="50" charset="0"/>
                <a:ea typeface="Inter"/>
                <a:cs typeface="Inter"/>
              </a:rPr>
              <a:t> środowisko pracy dla tych, którzy już są na pokładzie. Tak więc otrzymaliśmy dodatkowe narzędzie do budowania marki pracodawcy i naszej przewagi stricte HR.</a:t>
            </a:r>
          </a:p>
          <a:p>
            <a:pPr>
              <a:defRPr/>
            </a:pPr>
            <a:endParaRPr lang="pl-PL" sz="1000" b="1" dirty="0">
              <a:latin typeface="Athletics Bold" panose="02000000000000000000" pitchFamily="50" charset="0"/>
              <a:ea typeface="Inter"/>
              <a:cs typeface="Inter"/>
            </a:endParaRPr>
          </a:p>
          <a:p>
            <a:pPr>
              <a:defRPr/>
            </a:pPr>
            <a:r>
              <a:rPr lang="pl-PL" sz="1000" b="1" dirty="0">
                <a:latin typeface="Athletics Bold"/>
                <a:ea typeface="Inter"/>
                <a:cs typeface="Inter"/>
              </a:rPr>
              <a:t>Ale co najważniejsze stworzyliśmy takie warunki dla naszych pracowników, że byliśmy w stanie dowieźć cel biznesowy. </a:t>
            </a:r>
            <a:endParaRPr lang="pl-PL" sz="1000" b="1" dirty="0">
              <a:latin typeface="Athletics Bold" panose="02000000000000000000" pitchFamily="50" charset="0"/>
              <a:ea typeface="Inter"/>
              <a:cs typeface="Inter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pl-PL" sz="1000" b="1" dirty="0">
                <a:latin typeface="Athletics Bold" panose="02000000000000000000" pitchFamily="50" charset="0"/>
                <a:ea typeface="Inter"/>
                <a:cs typeface="Inter"/>
              </a:rPr>
            </a:br>
            <a:r>
              <a:rPr lang="pl-PL" sz="1000" b="1" dirty="0">
                <a:latin typeface="Athletics Bold" panose="02000000000000000000" pitchFamily="50" charset="0"/>
                <a:ea typeface="Inter"/>
                <a:cs typeface="Inter"/>
              </a:rPr>
              <a:t>Tak oto powstał N! Asystent - </a:t>
            </a:r>
            <a:r>
              <a:rPr lang="pl-PL" sz="1000" b="0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pierwszy w Polsce i jednym z pierwszych na świecie asystent bankowy klienta oparty na sztucznej inteligencji. </a:t>
            </a:r>
            <a:br>
              <a:rPr lang="pl-PL" sz="1000" b="0" i="0" kern="1200" dirty="0">
                <a:effectLst/>
                <a:latin typeface="Athletics Bold" panose="02000000000000000000" pitchFamily="50" charset="0"/>
              </a:rPr>
            </a:br>
            <a:r>
              <a:rPr lang="pl-PL" sz="1000" b="0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Jego dynamiczny rozwój pozwala klientom </a:t>
            </a:r>
            <a:r>
              <a:rPr lang="pl-PL" sz="1000" b="0" i="0" kern="1200" dirty="0" err="1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Nest</a:t>
            </a:r>
            <a:r>
              <a:rPr lang="pl-PL" sz="1000" b="0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 Banku na coraz sprawniejsze i bardziej zaawansowane zarządzanie finansami. </a:t>
            </a:r>
            <a:r>
              <a:rPr lang="pl-PL" sz="1000" b="0" i="1" kern="1200" dirty="0" err="1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N!Asystent</a:t>
            </a:r>
            <a:r>
              <a:rPr lang="pl-PL" sz="1000" b="0" i="1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 to dowód na to, jak dzięki generatywnej sztucznej inteligencji, możemy dać naszym klientom rozwiązanie, które wynosi ich satysfakcję na całkowicie nowy poziom.</a:t>
            </a:r>
            <a:br>
              <a:rPr lang="pl-PL" sz="1000" b="0" i="1" kern="1200" dirty="0">
                <a:effectLst/>
                <a:latin typeface="Athletics Bold" panose="02000000000000000000" pitchFamily="50" charset="0"/>
              </a:rPr>
            </a:br>
            <a:r>
              <a:rPr lang="pl-PL" sz="1000" b="0" i="1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Co zostało docenione </a:t>
            </a:r>
            <a:r>
              <a:rPr lang="pl-PL" sz="1000" b="0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nagrodą Best of Show na międzynarodowej konferencji </a:t>
            </a:r>
            <a:r>
              <a:rPr lang="pl-PL" sz="1000" b="0" i="0" kern="1200" dirty="0" err="1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FinovateFall</a:t>
            </a:r>
            <a:r>
              <a:rPr lang="pl-PL" sz="1000" b="0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 2024.</a:t>
            </a:r>
            <a:endParaRPr lang="pl-PL" dirty="0"/>
          </a:p>
          <a:p>
            <a:br>
              <a:rPr lang="pl-PL" sz="1000" dirty="0">
                <a:latin typeface="Athletics Bold" panose="02000000000000000000" pitchFamily="50" charset="0"/>
              </a:rPr>
            </a:br>
            <a:r>
              <a:rPr lang="pl-PL" sz="1000" dirty="0">
                <a:latin typeface="Athletics Bold" panose="02000000000000000000" pitchFamily="50" charset="0"/>
              </a:rPr>
              <a:t>Ale nie zapominamy, że AI to nie tylko efektywność, ale też przestrzeń do zabawy i kreatywności. Dlatego chcemy  promować  nasze rozwiązania w angażujący sposób – poprzez konkursy, akcje i wyzwania. Dzięki temu pracownicy odkrywają AI z ciekawością i satysfakcją, a my budujemy kulturę, w której innowacje dają też </a:t>
            </a:r>
            <a:r>
              <a:rPr lang="pl-PL" sz="1000" dirty="0" err="1">
                <a:latin typeface="Athletics Bold" panose="02000000000000000000" pitchFamily="50" charset="0"/>
              </a:rPr>
              <a:t>fun</a:t>
            </a:r>
            <a:r>
              <a:rPr lang="pl-PL" sz="1000" dirty="0">
                <a:latin typeface="Athletics Bold" panose="02000000000000000000" pitchFamily="50" charset="0"/>
              </a:rPr>
              <a:t>.”</a:t>
            </a:r>
            <a:endParaRPr lang="pl-PL" sz="1000" b="0" i="0" kern="1200" dirty="0">
              <a:solidFill>
                <a:schemeClr val="tx1"/>
              </a:solidFill>
              <a:effectLst/>
              <a:latin typeface="Athletics Bold" panose="02000000000000000000" pitchFamily="50" charset="0"/>
            </a:endParaRPr>
          </a:p>
          <a:p>
            <a:r>
              <a:rPr lang="pl-PL" sz="1000" dirty="0">
                <a:latin typeface="Athletics Bold" panose="02000000000000000000" pitchFamily="50" charset="0"/>
              </a:rPr>
              <a:t>Jednym z ostatnich akcji był konkurs :📣 AI w Akcji: Puchacz w Twojej Pracy 🦉</a:t>
            </a:r>
          </a:p>
          <a:p>
            <a:r>
              <a:rPr lang="pl-PL" sz="1000" dirty="0">
                <a:latin typeface="Athletics Bold" panose="02000000000000000000" pitchFamily="50" charset="0"/>
              </a:rPr>
              <a:t>W ramach którego poprosiliśmy naszych pracowników, aby pokazali nam jak widzą Puchacza! Może w sportowej bluzie, z laptopem pod skrzydłem, a może w kostiumie </a:t>
            </a:r>
            <a:r>
              <a:rPr lang="pl-PL" sz="1000" dirty="0" err="1">
                <a:latin typeface="Athletics Bold" panose="02000000000000000000" pitchFamily="50" charset="0"/>
              </a:rPr>
              <a:t>superbohatera</a:t>
            </a:r>
            <a:r>
              <a:rPr lang="pl-PL" sz="1000" dirty="0">
                <a:latin typeface="Athletics Bold" panose="02000000000000000000" pitchFamily="50" charset="0"/>
              </a:rPr>
              <a:t> ratującego czas zespołów? Oprócz aktywizacji konkurs miał także cel edukacyjny - chcieliśmy zachęcić do korzystania z funkcji generowania obrazków, której ostatnio wspólnie się uczyliśmy w ramach szkolenia wewnętrznego. </a:t>
            </a:r>
            <a:br>
              <a:rPr lang="pl-PL" sz="1000" dirty="0"/>
            </a:br>
            <a:endParaRPr lang="pl-PL" sz="1000" dirty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385648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989A5-655C-DE29-53D7-876D3144EC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F4394D00-1361-7CA1-7839-B819BAEDD4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344B0C11-2C1C-5BA1-5B5A-5EE726A7E1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Inspektor gadżet </a:t>
            </a:r>
            <a:br>
              <a:rPr lang="pl-PL" dirty="0"/>
            </a:br>
            <a:r>
              <a:rPr lang="pl-PL" dirty="0"/>
              <a:t>W ogniu pytań ;) </a:t>
            </a:r>
            <a:br>
              <a:rPr lang="pl-PL" dirty="0"/>
            </a:br>
            <a:r>
              <a:rPr lang="pl-PL" dirty="0"/>
              <a:t>Doświadczony starzec </a:t>
            </a:r>
            <a:br>
              <a:rPr lang="pl-PL" dirty="0"/>
            </a:br>
            <a:r>
              <a:rPr lang="pl-PL" dirty="0"/>
              <a:t>Krzyk Van Gogha</a:t>
            </a:r>
            <a:br>
              <a:rPr lang="pl-PL" dirty="0"/>
            </a:br>
            <a:r>
              <a:rPr lang="pl-PL" dirty="0"/>
              <a:t>a </a:t>
            </a:r>
            <a:r>
              <a:rPr lang="pl-PL"/>
              <a:t>może damska wersja?</a:t>
            </a:r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7B49CAFA-715B-4C0F-4CDC-4B3B5A9D71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59314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222559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ia NB: W przeciwieństwie do tradycyjnych banków, które traktują </a:t>
            </a:r>
            <a:r>
              <a:rPr lang="pl-PL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kroprzedsiębiorców</a:t>
            </a:r>
            <a:r>
              <a:rPr lang="pl-PL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k klientów detalicznych, </a:t>
            </a:r>
            <a:r>
              <a:rPr lang="pl-PL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</a:t>
            </a:r>
            <a:r>
              <a:rPr lang="pl-PL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ank zapewnia narzędzia i usługi, które dla właścicieli małych firm stanowią wartość dodaną. </a:t>
            </a:r>
            <a:r>
              <a:rPr lang="pl-PL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kroprzedsiębiorcy</a:t>
            </a:r>
            <a:r>
              <a:rPr lang="pl-PL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ie chcą tracić czasu na bankowość. Chcą inwestować go w swoją działalność. Opierając się na swojej strategii pomagania </a:t>
            </a:r>
            <a:r>
              <a:rPr lang="pl-PL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kroprzedsiębiorcom</a:t>
            </a:r>
            <a:r>
              <a:rPr lang="pl-PL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pl-PL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</a:t>
            </a:r>
            <a:r>
              <a:rPr lang="pl-PL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ank zdecydował się na postęp w automatyzacji. Rozpoczęliśmy od zautomatyzowania niemal każdego procesu w </a:t>
            </a:r>
            <a:r>
              <a:rPr lang="pl-PL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</a:t>
            </a:r>
            <a:r>
              <a:rPr lang="pl-PL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anku, który wcześniej był wykonywany ręcznie. </a:t>
            </a:r>
            <a:r>
              <a:rPr lang="pl-PL"/>
              <a:t>Jako firma chcieliśmy wyeliminować rutynę – dlatego postawiliśmy na AI. </a:t>
            </a:r>
          </a:p>
          <a:p>
            <a:endParaRPr lang="pl-PL"/>
          </a:p>
          <a:p>
            <a:r>
              <a:rPr lang="pl-PL" dirty="0"/>
              <a:t>Zewnętrzne trendy:</a:t>
            </a:r>
            <a:br>
              <a:rPr lang="pl-PL">
                <a:cs typeface="+mn-lt"/>
              </a:rPr>
            </a:br>
            <a:r>
              <a:rPr lang="pl-PL"/>
              <a:t>Polski Instytut Ekonomiczny w swoim raporcie z września 2025 pokazuje, że z AI korzysta zaledwie 6-16% firm, a aż 77% nie planuje jej wdrażać „dopóki nie będzie konieczne". Te, które stawiają na sztuczną inteligencję, wyraźnie się wyróżniają – mają większe przyrosty nowych klientów. Microsoft szacuje że każdy 1$ wydany na AI, skutkuje zwrotem wysokości 3,5$, a zwroty z inwestycji AI następują już po 14 miesiącach.  Główny cel? Przewaga konkurencyjna i my te przewagę chcieliśmy wykorzystać.</a:t>
            </a:r>
          </a:p>
          <a:p>
            <a:endParaRPr lang="pl-PL"/>
          </a:p>
          <a:p>
            <a:r>
              <a:rPr lang="pl-PL"/>
              <a:t>Dlatego powołaliśmy do życia nasz projekt, wiedzieliśmy że same narzędzia nie wystarczą, że musimy stworzyć kulturę, cały </a:t>
            </a:r>
            <a:r>
              <a:rPr lang="pl-PL" err="1"/>
              <a:t>eco</a:t>
            </a:r>
            <a:r>
              <a:rPr lang="pl-PL"/>
              <a:t>-system, </a:t>
            </a:r>
            <a:r>
              <a:rPr lang="pl-PL" err="1"/>
              <a:t>dzieki</a:t>
            </a:r>
            <a:r>
              <a:rPr lang="pl-PL"/>
              <a:t> któremu AI na dobre wpisze się w DNA naszej organizacji- w bezpieczny i etyczny sposób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961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/>
              <a:t>Postawiliśmy</a:t>
            </a:r>
            <a:r>
              <a:rPr lang="pl-PL" b="1" dirty="0"/>
              <a:t> na </a:t>
            </a:r>
            <a:r>
              <a:rPr lang="pl-PL" b="1" dirty="0" err="1"/>
              <a:t>empowerment</a:t>
            </a:r>
            <a:r>
              <a:rPr lang="pl-PL" dirty="0"/>
              <a:t> – chcieliśmy dać naszym pracownikom narzędzia, wiedzę i motywację,  aby </a:t>
            </a:r>
            <a:r>
              <a:rPr lang="pl-PL" b="1" dirty="0"/>
              <a:t>sami mogli tworzyć usprawnienia</a:t>
            </a:r>
            <a:r>
              <a:rPr lang="pl-PL" dirty="0"/>
              <a:t>, które najlepiej odpowiadają na ich potrzeby i codzienne wyzwani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pl-PL" dirty="0"/>
            </a:br>
            <a:r>
              <a:rPr lang="pl-PL" dirty="0"/>
              <a:t>Sztuczna inteligencja przejmuje powtarzalne czynności, a nasi pracownicy mogą skupić swoją energię i kreatywność na rozwoju biznesu oraz tworzeniu wyjątkowych doświadczeń dla klientów – to przyniesie nam realne efekty biznesowe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710568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51552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pl-PL" b="1">
                <a:cs typeface="+mn-lt"/>
              </a:rPr>
            </a:br>
            <a:r>
              <a:rPr lang="pl-PL" b="1"/>
              <a:t>Projekt Budowania Kultury Organizacyjnej opartej o AI rozpoczęliśmy od budowania zespołu. </a:t>
            </a:r>
            <a:r>
              <a:rPr lang="pl-PL"/>
              <a:t>Jako HR stanęliśmy przed wyzwaniem pozyskania odpowiednich kompetencji, wierzyliśmy, że największy potencjał jest w naszych ludziach, w końcu nieszablonowość to jedna z naszych wartości. Brakowało nam natomiast osoby, która miałaby już pierwsze doświadczenie biznesowe w tego typu projektach- zaczęliśmy od rekrutacji AI Product </a:t>
            </a:r>
            <a:r>
              <a:rPr lang="pl-PL" err="1"/>
              <a:t>Ownera</a:t>
            </a:r>
            <a:r>
              <a:rPr lang="pl-PL"/>
              <a:t>. </a:t>
            </a:r>
            <a:endParaRPr lang="en-US"/>
          </a:p>
          <a:p>
            <a:endParaRPr lang="pl-PL"/>
          </a:p>
          <a:p>
            <a:r>
              <a:rPr lang="pl-PL"/>
              <a:t>Zaplanowaliśmy cykliczne spotkania interdyscyplinarnego</a:t>
            </a:r>
            <a:r>
              <a:rPr lang="pl-PL" dirty="0"/>
              <a:t> </a:t>
            </a:r>
            <a:r>
              <a:rPr lang="pl-PL"/>
              <a:t>zespołu stworzonego z naszego teamu HR, AI PO IT i Marketingu- a dokładnie wydziału PR</a:t>
            </a:r>
            <a:r>
              <a:rPr lang="pl-PL" dirty="0"/>
              <a:t>), </a:t>
            </a:r>
            <a:endParaRPr lang="en-US"/>
          </a:p>
          <a:p>
            <a:r>
              <a:rPr lang="pl-PL" dirty="0"/>
              <a:t>Stworzyliśmy zespół, który łączy trzy kluczowe perspektywy.</a:t>
            </a:r>
            <a:endParaRPr lang="pl-PL"/>
          </a:p>
          <a:p>
            <a:r>
              <a:rPr lang="pl-PL" b="1"/>
              <a:t>HR</a:t>
            </a:r>
            <a:r>
              <a:rPr lang="pl-PL"/>
              <a:t> wzięło odpowiedzialność za ludzi – przygotowanie ich na zmianę, rozwój kompetencji, aktywizację i budowanie zaufania do AI.</a:t>
            </a:r>
          </a:p>
          <a:p>
            <a:r>
              <a:rPr lang="pl-PL" b="1">
                <a:cs typeface="+mn-lt"/>
              </a:rPr>
              <a:t>AI PO</a:t>
            </a:r>
            <a:r>
              <a:rPr lang="pl-PL">
                <a:cs typeface="+mn-lt"/>
              </a:rPr>
              <a:t>- wizja, pomysły, diagnoza czego potrzebujemy, jakie narzędzia i rozwiązania AI będą dla naszej organizacji najlepsze</a:t>
            </a:r>
            <a:br>
              <a:rPr lang="pl-PL">
                <a:cs typeface="+mn-lt"/>
              </a:rPr>
            </a:br>
            <a:r>
              <a:rPr lang="pl-PL" b="1" dirty="0"/>
              <a:t>IT</a:t>
            </a:r>
            <a:r>
              <a:rPr lang="pl-PL" dirty="0"/>
              <a:t> zadbało o technologię – jej </a:t>
            </a:r>
            <a:r>
              <a:rPr lang="pl-PL"/>
              <a:t>wdrożenie, bezpieczeństwo</a:t>
            </a:r>
            <a:r>
              <a:rPr lang="pl-PL" dirty="0"/>
              <a:t>, wydajność i integrację z istniejącymi systemami.</a:t>
            </a:r>
            <a:br>
              <a:rPr lang="pl-PL">
                <a:cs typeface="+mn-lt"/>
              </a:rPr>
            </a:br>
            <a:r>
              <a:rPr lang="pl-PL" b="1" dirty="0"/>
              <a:t>Marketing</a:t>
            </a:r>
            <a:r>
              <a:rPr lang="pl-PL" dirty="0"/>
              <a:t> zadbał o komunikację – zarówno wewnętrzną, jak i zewnętrzną – tak, by AI było postrzegane jako </a:t>
            </a:r>
            <a:r>
              <a:rPr lang="pl-PL" b="1" dirty="0"/>
              <a:t>narzędzie wsparcia, a nie zagrożenie</a:t>
            </a:r>
            <a:r>
              <a:rPr lang="pl-PL" dirty="0"/>
              <a:t>.</a:t>
            </a:r>
            <a:endParaRPr lang="pl-PL"/>
          </a:p>
          <a:p>
            <a:endParaRPr lang="pl-PL">
              <a:cs typeface="+mn-lt"/>
            </a:endParaRPr>
          </a:p>
          <a:p>
            <a:r>
              <a:rPr lang="pl-PL">
                <a:cs typeface="+mn-lt"/>
              </a:rPr>
              <a:t>Przejdźmy teraz do szczegółów samej realizacji projektu- opowie o tym Monika.</a:t>
            </a:r>
            <a:br>
              <a:rPr lang="pl-PL">
                <a:cs typeface="+mn-lt"/>
              </a:rPr>
            </a:br>
            <a:r>
              <a:rPr lang="pl-PL" dirty="0"/>
              <a:t> </a:t>
            </a:r>
            <a:br>
              <a:rPr lang="pl-PL">
                <a:cs typeface="+mn-lt"/>
              </a:rPr>
            </a:br>
            <a:br>
              <a:rPr lang="pl-PL">
                <a:cs typeface="+mn-lt"/>
              </a:rPr>
            </a:br>
            <a:br>
              <a:rPr lang="pl-PL">
                <a:cs typeface="+mn-lt"/>
              </a:rPr>
            </a:br>
            <a:br>
              <a:rPr lang="pl-PL">
                <a:cs typeface="+mn-lt"/>
              </a:rPr>
            </a:br>
            <a:br>
              <a:rPr lang="pl-PL">
                <a:cs typeface="+mn-lt"/>
              </a:rPr>
            </a:b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880544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ziałania zaczęliśmy od z</a:t>
            </a:r>
            <a:r>
              <a:rPr lang="pl-PL" dirty="0"/>
              <a:t>aczęliśmy od liderów – dzięki temu AI stało się inspiracją, a nie obawą.</a:t>
            </a:r>
            <a:b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dnym z kluczowych czynników sukcesu wdrożenia AI w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anku było </a:t>
            </a:r>
            <a:r>
              <a:rPr lang="pl-PL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łne wsparcie zarządu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Każdy członek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ecutive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eamu osobiście testował narzędzia AI, by lepiej zrozumieć ich potencjał. </a:t>
            </a:r>
            <a:br>
              <a:rPr lang="pl-PL" dirty="0"/>
            </a:br>
            <a:r>
              <a:rPr lang="pl-PL" dirty="0"/>
              <a:t>Wykupiliśmy </a:t>
            </a:r>
            <a:r>
              <a:rPr lang="pl-PL" dirty="0">
                <a:solidFill>
                  <a:srgbClr val="FF0000"/>
                </a:solidFill>
              </a:rPr>
              <a:t>także </a:t>
            </a:r>
            <a:r>
              <a:rPr lang="pl-PL" b="1" dirty="0">
                <a:solidFill>
                  <a:srgbClr val="FF0000"/>
                </a:solidFill>
              </a:rPr>
              <a:t>płatną wersję chatu GPT dla całej kadry menedżerskiej</a:t>
            </a:r>
            <a:r>
              <a:rPr lang="pl-PL" dirty="0"/>
              <a:t>. Chcieliśmy, aby </a:t>
            </a:r>
            <a:r>
              <a:rPr lang="pl-PL" b="0" dirty="0"/>
              <a:t>liderzy sami poznali możliwości narzędzia, odkryli </a:t>
            </a:r>
            <a:r>
              <a:rPr lang="pl-PL" dirty="0"/>
              <a:t>jego potencjał w codziennej pracy i na własnym doświadczeniu zobaczyli, jak może wspierać procesy, komunikację i rozwój biznesu. </a:t>
            </a:r>
            <a:br>
              <a:rPr lang="pl-PL" dirty="0"/>
            </a:br>
            <a:br>
              <a:rPr lang="pl-PL" dirty="0"/>
            </a:br>
            <a:r>
              <a:rPr lang="pl-PL" dirty="0"/>
              <a:t>Dzięki temu nasi liderzy</a:t>
            </a:r>
            <a:br>
              <a:rPr lang="pl-PL" dirty="0"/>
            </a:br>
            <a:r>
              <a:rPr lang="pl-PL" dirty="0"/>
              <a:t>lepiej rozumieli </a:t>
            </a:r>
            <a:r>
              <a:rPr lang="pl-PL" b="1" dirty="0"/>
              <a:t>wyzwania i obawy pracowników</a:t>
            </a:r>
            <a:r>
              <a:rPr lang="pl-PL" dirty="0"/>
              <a:t> związane z nową technologią,</a:t>
            </a:r>
            <a:br>
              <a:rPr lang="pl-PL" dirty="0"/>
            </a:br>
            <a:r>
              <a:rPr lang="pl-PL" dirty="0"/>
              <a:t>mogli </a:t>
            </a:r>
            <a:r>
              <a:rPr lang="pl-PL" b="1" dirty="0"/>
              <a:t>świadomie zachęcać zespoły</a:t>
            </a:r>
            <a:r>
              <a:rPr lang="pl-PL" dirty="0"/>
              <a:t> do korzystania z nowych rozwiązań,</a:t>
            </a:r>
          </a:p>
          <a:p>
            <a:r>
              <a:rPr lang="pl-PL" dirty="0"/>
              <a:t>wspólnie zaczęli wypracowywać </a:t>
            </a:r>
            <a:r>
              <a:rPr lang="pl-PL" b="1" dirty="0"/>
              <a:t>pierwsze pomysły na praktyczne zastosowania AI</a:t>
            </a:r>
            <a:r>
              <a:rPr lang="pl-PL" dirty="0"/>
              <a:t>.</a:t>
            </a:r>
          </a:p>
          <a:p>
            <a:r>
              <a:rPr lang="pl-PL" dirty="0"/>
              <a:t>To podejście sprawiło, że zmiana zaczęła się </a:t>
            </a:r>
            <a:r>
              <a:rPr lang="pl-PL" b="1" dirty="0"/>
              <a:t>od góry</a:t>
            </a:r>
            <a:r>
              <a:rPr lang="pl-PL" dirty="0"/>
              <a:t>, a AI stało się </a:t>
            </a:r>
            <a:r>
              <a:rPr lang="pl-PL" b="1" dirty="0"/>
              <a:t>naturalnym elementem pracy</a:t>
            </a:r>
            <a:r>
              <a:rPr lang="pl-PL" dirty="0"/>
              <a:t>, a nie narzędziem narzuconym z zewnątrz.</a:t>
            </a:r>
            <a:endParaRPr lang="pl-PL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ank był jedną z pierwszych firm w Europie, która dla swoich pracowników rozszerzyła Microsoft 365 o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ilot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pl-PL" b="1" dirty="0"/>
              <a:t>Microsoft 365 </a:t>
            </a:r>
            <a:r>
              <a:rPr lang="pl-PL" b="1" dirty="0" err="1"/>
              <a:t>Copilot</a:t>
            </a:r>
            <a:r>
              <a:rPr lang="pl-PL" dirty="0"/>
              <a:t> to wirtualny asystent oparty na sztucznej inteligencji, zintegrowany z pakietem Microsoft 365, który jest głównym pakietem narzędziowym w naszej firmie. </a:t>
            </a:r>
            <a:br>
              <a:rPr lang="pl-PL" dirty="0"/>
            </a:b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zez większość czasu nasi pracownicy pracują z jego aplikacjami - tworzą prezentacje w PowerPoint, dokumenty w Word lub prowadzą spotkania w Microsoft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ams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b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decydowaliśmy, że najlepszym sposobem na zachęcenie ich do korzystania ze sztucznej inteligencji było więc skorzystanie z rozwiązania już wpisanego w ten ekosystem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rzędzie to automatycznie sugerowało co może dla nas zrobić  - np. proponowało przygotowanie podsumowania spotkania, czy rozmów na czacie. Pracownicy mieli możliwość skorzystania z tych funkcji dosłownie za pomocą jednego kliknięcia. Łatwa dostępność zachęcała do użycia technologii, a sam wynik jej działania często przewyższał jej efekt. </a:t>
            </a:r>
            <a:b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la mnie osobiście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ilot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ył pierwszym narzędziem AI z jakim miałam styczność  i funkcja podsumowań czatów na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ams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est ze mną do dziś 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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056187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pl-PL" dirty="0"/>
              <a:t>Uruchamiając narzędzia AI, od razu wiedzieliśmy, że sama technologia to za mało. </a:t>
            </a:r>
            <a:br>
              <a:rPr lang="pl-PL" dirty="0"/>
            </a:br>
            <a:r>
              <a:rPr lang="pl-PL" dirty="0"/>
              <a:t>Chcieliśmy, by pracownicy mieli nie tylko dostęp do narzędzi, ale także wiedzę, jak je wykorzystać – w pracy i w życiu prywatnym, dlatego intensywnie ruszyliśmy z naszą ścieżką szkoleń. </a:t>
            </a:r>
            <a:br>
              <a:rPr lang="pl-PL" dirty="0"/>
            </a:br>
            <a:br>
              <a:rPr lang="pl-PL" dirty="0"/>
            </a:br>
            <a:r>
              <a:rPr lang="pl-PL" b="1" dirty="0"/>
              <a:t>Stawiamy na </a:t>
            </a:r>
            <a:r>
              <a:rPr lang="pl-PL" b="1" dirty="0" err="1"/>
              <a:t>webinary</a:t>
            </a:r>
            <a:r>
              <a:rPr lang="pl-PL" b="1" dirty="0"/>
              <a:t> z ekspertami, na których szukaliśmy odpowiedzi na min. To</a:t>
            </a:r>
            <a:br>
              <a:rPr lang="pl-PL" dirty="0"/>
            </a:b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zym jest sztuczna inteligencja; jakie są jej aktualne możliwości i ograniczenia?</a:t>
            </a:r>
          </a:p>
          <a:p>
            <a:pPr lvl="0"/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kie zmiany i trendy na rynku w obszarze AI pokaże najbliższy czas?</a:t>
            </a:r>
          </a:p>
          <a:p>
            <a:pPr lvl="0"/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kie narzędzia oparte o AI mogą pomóc w realizacji zadań w sferze zawodowej oraz prywatnej?</a:t>
            </a:r>
          </a:p>
          <a:p>
            <a:pPr lvl="0"/>
            <a:b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lmy instruktażowe -  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k korzystać z dostępnych narzędzi, prezentujemy też przykłady konkretnych zastosowań </a:t>
            </a:r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eriały edukacyjne 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 tym na bieżąco aktualizowana sekcja FAQ – z odpowiedziami na najczęściej pojawiające się pytania</a:t>
            </a:r>
          </a:p>
          <a:p>
            <a:br>
              <a:rPr lang="pl-PL" dirty="0"/>
            </a:br>
            <a:r>
              <a:rPr lang="pl-PL" dirty="0"/>
              <a:t>Wszystkie z tych narzędzi – nagrania z </a:t>
            </a:r>
            <a:r>
              <a:rPr lang="pl-PL" dirty="0" err="1"/>
              <a:t>webinarów</a:t>
            </a:r>
            <a:r>
              <a:rPr lang="pl-PL" dirty="0"/>
              <a:t>, filmy i materiały są dostępne w dedykowanej Strefie AI w naszym Intranecie – więc każdy zainteresowany pracownik może w łatwy sposób dotrzeć do naszej bazy szkoleniowej </a:t>
            </a:r>
            <a:r>
              <a:rPr lang="pl-PL" dirty="0">
                <a:sym typeface="Wingdings" panose="05000000000000000000" pitchFamily="2" charset="2"/>
              </a:rPr>
              <a:t>i korzystać z niej w dowolnym wybranym momencie. 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010630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/>
              <a:t>Pierwszym krokiem naszej przygody z AI było otwarcie się na narzędzia zewnętrzne – chcieliśmy, żeby pracownicy mogli je testować, odkrywać potencjał i uczyć się korzystać z nowych technologii. To dało nam ogrom wiedzy i doświadczeń, ale szybko stało się jasne, że </a:t>
            </a:r>
            <a:r>
              <a:rPr lang="pl-PL" b="1" dirty="0"/>
              <a:t>potrzebujemy czegoś więcej</a:t>
            </a:r>
            <a:r>
              <a:rPr lang="pl-PL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/>
              <a:t>Zrozumieliśmy, że aby naprawdę zwiększyć skalę, musimy stworzyć narzędzie </a:t>
            </a:r>
            <a:r>
              <a:rPr lang="pl-PL" b="1" dirty="0"/>
              <a:t>dopasowane do naszych procesów, języka i realnych potrzeb biznesowych</a:t>
            </a:r>
            <a:r>
              <a:rPr lang="pl-PL" dirty="0"/>
              <a:t>, które dodatkowo będzie w pełni </a:t>
            </a:r>
            <a:r>
              <a:rPr lang="pl-PL" b="1" dirty="0"/>
              <a:t>bezpieczne i zgodne z regulacjami – co jest bardzo ważne w naszej branży. </a:t>
            </a:r>
            <a:br>
              <a:rPr lang="pl-PL" dirty="0"/>
            </a:br>
            <a:r>
              <a:rPr lang="pl-PL" dirty="0"/>
              <a:t>Tak narodziła się decyzja o wdrożeniu </a:t>
            </a:r>
            <a:r>
              <a:rPr lang="pl-PL" b="1" dirty="0"/>
              <a:t>wewnętrznego, personalizowanego asystenta AI - Puchacza</a:t>
            </a:r>
            <a:r>
              <a:rPr lang="pl-PL" dirty="0"/>
              <a:t>.</a:t>
            </a:r>
            <a:br>
              <a:rPr lang="pl-PL" dirty="0"/>
            </a:br>
            <a:br>
              <a:rPr lang="pl-PL" dirty="0"/>
            </a:b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chacz - 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ystent pracownika oparty na technologii </a:t>
            </a:r>
            <a:r>
              <a:rPr lang="pl-PL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atGPT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który jest w stanie odpowiedzieć na pytania, nawiązując rozmowę w języku naturalnym.</a:t>
            </a:r>
            <a:b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kłada się on z trzech modułów:</a:t>
            </a:r>
          </a:p>
          <a:p>
            <a:r>
              <a:rPr lang="pl-PL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at GPT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– generuje treści i odpowiada na pytania. Może odpowiadać w języku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zgodnie z naszymi korporacyjnymi standardami. </a:t>
            </a:r>
          </a:p>
          <a:p>
            <a:r>
              <a:rPr lang="pl-PL" sz="1200" b="1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</a:t>
            </a:r>
            <a:r>
              <a:rPr lang="pl-PL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PT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– model dostosowany do organizacji, zasilany wewnętrznymi procedurami i regulacjami ale także zewnętrzną dokumentacją taką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ąk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komendacje KNF czy Prawo Bankowe. 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odatkowo jest podłączony pod nasz intranet i stronę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w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ervice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k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zięki czemu pracownicy mogą zapytać o projekty, przeszukać SD, zapytać jak rozliczyć delegację, złożyć wniosek na zarząd.</a:t>
            </a:r>
          </a:p>
          <a:p>
            <a:r>
              <a:rPr lang="pl-PL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łumacz AI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– pozwala na szybkie tłumaczenie dokumentów i zachowanie ich formatowania – możemy więc w pełni bezpiecznie tłumaczyć nasze dokumenty wewnętrzne – to był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me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anger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!</a:t>
            </a:r>
          </a:p>
          <a:p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sz Puchacz jest ma </a:t>
            </a:r>
            <a:r>
              <a:rPr lang="pl-PL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dolnośc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o uczenia się</a:t>
            </a:r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analizuje dane z interakcji z użytkownikiem, dzięki czemu zapamiętuje, które z jego odpowiedzi były pomocne, a które należy poprawić</a:t>
            </a:r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rozpoznaje wzorce, kontekst, dostosowuje się do języka użytkownika - rozpoznaje które pytania pojawiają się często i w jakich sytuacjach, dzięki czemu potrafi szybciej podawać gotowe rozwiązanie.</a:t>
            </a:r>
          </a:p>
          <a:p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laczego w zasadzie Puchacz to Puchacz? :D</a:t>
            </a:r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 pierwsze, puchacz to największa europejska sowa, ptak nocy, który widzi to, co dla innych ukryte. My w </a:t>
            </a:r>
            <a:r>
              <a:rPr lang="pl-P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</a:t>
            </a:r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anku chcieliśmy, żeby nasz system miał podobną cechę – dostrzegać więcej, rozumieć lepiej i pomagać szybciej niż zwykłe narzędzia.</a:t>
            </a:r>
          </a:p>
          <a:p>
            <a:r>
              <a:rPr lang="pl-P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chacz jest także symbolem mądrości i nowych perspektyw. Nasz czat GPT to właśnie takie wsparcie – daje dostęp do wiedzy i podpowiedzi, które otwierają nowe drogi i ułatwiają codzienne decyzje.</a:t>
            </a:r>
          </a:p>
          <a:p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283587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E54D2-1C10-E52A-6721-412D4E1ECB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635C25F3-A77C-C3E9-20DA-E4B339D6A7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455A0D60-D098-1187-4044-0CA21A315A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/>
              <a:t>Kiedy zobaczyliśmy, że pierwsze wdrożenia AI przynoszą realną wartość, wiedzieliśmy, że czas pójść krok dalej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/>
              <a:t>Naszym celem nie było tworzenie kilku centralnych rozwiązań, ale </a:t>
            </a:r>
            <a:r>
              <a:rPr lang="pl-PL" b="1" dirty="0"/>
              <a:t>zwiększenie skali</a:t>
            </a:r>
            <a:r>
              <a:rPr lang="pl-PL" dirty="0"/>
              <a:t> – tak, by AI stało się narzędziem w rękach każdego pracownika.</a:t>
            </a:r>
            <a:br>
              <a:rPr lang="pl-PL" dirty="0"/>
            </a:br>
            <a:r>
              <a:rPr lang="pl-PL" dirty="0"/>
              <a:t>Dlatego zdecydowaliśmy się na odważny krok: </a:t>
            </a:r>
            <a:r>
              <a:rPr lang="pl-PL" b="1" dirty="0"/>
              <a:t>oddaliśmy sprawczość ludziom</a:t>
            </a:r>
            <a:r>
              <a:rPr lang="pl-PL" dirty="0"/>
              <a:t>. </a:t>
            </a:r>
            <a:br>
              <a:rPr lang="pl-PL" dirty="0"/>
            </a:br>
            <a:r>
              <a:rPr lang="pl-PL" dirty="0"/>
              <a:t>Wierzyliśmy, że właśnie oni – pracownicy, którzy najlepiej znają procesy – będą potrafili stworzyć najbardziej praktyczne usprawnieni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/>
              <a:t>Wyposażyliśmy ich w wiedzę i narzędzia, aby sami mogli projektować rozwiązania dopasowane do swoich codziennych potrzeb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tak powstał </a:t>
            </a:r>
            <a:r>
              <a:rPr lang="pl-PL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pl-PL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e</a:t>
            </a: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zięki któremu każdy pracownik może w kilka minut stworzyć swojego bota AI bez udziału IT,  który automatyzuje wybrane zadania – np. analizę dokumentów, generowanie raportów czy wsparcie komunikacji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pl-P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 ten sposób powstaje wewnętrzny ekosystem rozwiązań szytych na miarę, tworzonych przez użytkowników dla użytkowników</a:t>
            </a:r>
            <a: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Store</a:t>
            </a:r>
            <a: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yróżnia się tym, że nie narzuca uniwersalnych narzędzi, ale daje przestrzeń do współtworzenia technologii i samodzielnego decydowania, jakie procesy usprawniać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</a:t>
            </a:r>
            <a:r>
              <a:rPr lang="pl-PL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żliwia dodatkowo dzielenie się botami i korzystanie z pomysłów innych, co nie tylko zwiększa efektywność, </a:t>
            </a:r>
            <a: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e również buduje poczucie sprawczości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acownicy przestali być wyłącznie użytkownikami narzędzi, a stali się twórcami technologii, co wzmacnia ich zaangażowanie i rozwija kompetencje cyfrowe.</a:t>
            </a:r>
            <a:br>
              <a:rPr lang="pl-PL" dirty="0"/>
            </a:br>
            <a:br>
              <a:rPr lang="pl-PL" dirty="0"/>
            </a:br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F9EF8776-D0C3-0336-A414-9B1320C18A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B7B2F-7CF7-4D65-8FD1-91B4FCC29CC3}" type="slidenum">
              <a:rPr lang="pl-PL" smtClean="0"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3764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image" Target="../media/image2.emf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image" Target="../media/image1.emf"/><Relationship Id="rId5" Type="http://schemas.openxmlformats.org/officeDocument/2006/relationships/tags" Target="../tags/tag84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3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image" Target="../media/image2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image" Target="../media/image5.emf"/><Relationship Id="rId5" Type="http://schemas.openxmlformats.org/officeDocument/2006/relationships/tags" Target="../tags/tag9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1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image" Target="../media/image2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image" Target="../media/image1.emf"/><Relationship Id="rId5" Type="http://schemas.openxmlformats.org/officeDocument/2006/relationships/tags" Target="../tags/tag100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9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0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10" Type="http://schemas.openxmlformats.org/officeDocument/2006/relationships/image" Target="../media/image2.emf"/><Relationship Id="rId4" Type="http://schemas.openxmlformats.org/officeDocument/2006/relationships/tags" Target="../tags/tag107.xml"/><Relationship Id="rId9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3.emf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6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4" Type="http://schemas.openxmlformats.org/officeDocument/2006/relationships/image" Target="../media/image7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1.emf"/><Relationship Id="rId4" Type="http://schemas.openxmlformats.org/officeDocument/2006/relationships/tags" Target="../tags/tag29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7.xml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4.emf"/><Relationship Id="rId4" Type="http://schemas.openxmlformats.org/officeDocument/2006/relationships/tags" Target="../tags/tag42.xml"/><Relationship Id="rId9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image" Target="../media/image3.emf"/><Relationship Id="rId4" Type="http://schemas.openxmlformats.org/officeDocument/2006/relationships/tags" Target="../tags/tag60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2.emf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image" Target="../media/image1.emf"/><Relationship Id="rId5" Type="http://schemas.openxmlformats.org/officeDocument/2006/relationships/tags" Target="../tags/tag68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7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2.emf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image" Target="../media/image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918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1D721875-462D-BCB0-C394-FF81C3012646}"/>
              </a:ext>
            </a:extLst>
          </p:cNvPr>
          <p:cNvSpPr/>
          <p:nvPr userDrawn="1"/>
        </p:nvSpPr>
        <p:spPr>
          <a:xfrm>
            <a:off x="0" y="2478680"/>
            <a:ext cx="12192000" cy="39713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55DE5E-E091-C51F-D6FF-54F861D7C62E}"/>
              </a:ext>
            </a:extLst>
          </p:cNvPr>
          <p:cNvPicPr>
            <a:picLocks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38201" y="597392"/>
            <a:ext cx="3937985" cy="1562693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956730"/>
            <a:ext cx="769632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5539121"/>
            <a:ext cx="769632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4387940"/>
            <a:ext cx="7696320" cy="61555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6995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EC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C09CFA6-7A67-5C87-C3D6-6E7249442C7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536746" y="471170"/>
            <a:ext cx="1098042" cy="432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5339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EC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806165B-DAAD-F0F8-9DC9-6A5747EF0CA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536746" y="471170"/>
            <a:ext cx="1098042" cy="432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67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EC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B1C6482-9DDA-4541-9B16-688F08B6969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536746" y="471170"/>
            <a:ext cx="1098042" cy="432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282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2427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012738" y="565178"/>
            <a:ext cx="9624526" cy="338554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42DED8-F794-C21A-7D48-5DC60BEA3C1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54736" y="471170"/>
            <a:ext cx="1098042" cy="432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887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419089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4064000" y="2367171"/>
            <a:ext cx="4064000" cy="21236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rtl="0"/>
            <a:r>
              <a:rPr lang="en-US" sz="13800"/>
              <a:t>EN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3567C6-6529-E75C-A2E8-8657A4BAA2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biLevel thresh="75000"/>
          </a:blip>
          <a:stretch>
            <a:fillRect/>
          </a:stretch>
        </p:blipFill>
        <p:spPr>
          <a:xfrm>
            <a:off x="600426" y="535247"/>
            <a:ext cx="2320328" cy="920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731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43953" y="857162"/>
            <a:ext cx="9776571" cy="576263"/>
          </a:xfrm>
          <a:prstGeom prst="rect">
            <a:avLst/>
          </a:prstGeom>
        </p:spPr>
        <p:txBody>
          <a:bodyPr/>
          <a:lstStyle>
            <a:lvl1pPr algn="r">
              <a:defRPr sz="1800" b="0" i="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  <a:sym typeface="Inter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2630" y="435864"/>
            <a:ext cx="9778130" cy="485775"/>
          </a:xfrm>
          <a:prstGeom prst="rect">
            <a:avLst/>
          </a:prstGeom>
        </p:spPr>
        <p:txBody>
          <a:bodyPr vert="horz"/>
          <a:lstStyle>
            <a:lvl1pPr>
              <a:defRPr sz="2000"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 algn="l">
              <a:defRPr sz="1800"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1pPr>
            <a:lvl2pPr algn="l">
              <a:defRPr sz="1800" b="0" i="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  <a:sym typeface="Inter" panose="020B0604030504040204" pitchFamily="34" charset="0"/>
              </a:defRPr>
            </a:lvl2pPr>
            <a:lvl3pPr algn="l">
              <a:defRPr sz="1800"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3pPr>
            <a:lvl4pPr algn="l">
              <a:defRPr sz="1600"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4pPr>
            <a:lvl5pPr algn="l">
              <a:defRPr sz="1600"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4077170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E9B18C4-14B0-2944-A900-AB5A4575517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E25307-D867-EC4D-B95B-0409FE89D9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1" y="3697475"/>
            <a:ext cx="7494693" cy="528350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Duis </a:t>
            </a:r>
            <a:r>
              <a:rPr lang="en-GB" err="1"/>
              <a:t>autem</a:t>
            </a:r>
            <a:r>
              <a:rPr lang="en-GB"/>
              <a:t> 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B6488C-0CC2-244A-B417-C5C522A2FF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1" y="5689617"/>
            <a:ext cx="7494692" cy="570991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endParaRPr lang="x-none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A80A93D-492F-7B4D-B975-3593A0122B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1" y="4242388"/>
            <a:ext cx="7494588" cy="135373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br>
              <a:rPr lang="en-GB"/>
            </a:br>
            <a:r>
              <a:rPr lang="en-GB"/>
              <a:t>in </a:t>
            </a:r>
            <a:r>
              <a:rPr lang="en-GB" err="1"/>
              <a:t>hendrerit</a:t>
            </a:r>
            <a:endParaRPr lang="en-UA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9CB395DE-B476-4D44-BF49-E25DE3DA5F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1" y="597392"/>
            <a:ext cx="3937985" cy="1562693"/>
          </a:xfrm>
          <a:prstGeom prst="rect">
            <a:avLst/>
          </a:prstGeom>
        </p:spPr>
      </p:pic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C10A2520-5382-D74E-806F-8DB3EBDCD0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71094" y="5719603"/>
            <a:ext cx="2182705" cy="414867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algn="r">
              <a:lnSpc>
                <a:spcPct val="120000"/>
              </a:lnSpc>
            </a:pPr>
            <a:r>
              <a:rPr lang="en-GB" sz="1400"/>
              <a:t>V 1.0</a:t>
            </a:r>
            <a:endParaRPr lang="x-none" sz="1400"/>
          </a:p>
        </p:txBody>
      </p:sp>
    </p:spTree>
    <p:extLst>
      <p:ext uri="{BB962C8B-B14F-4D97-AF65-F5344CB8AC3E}">
        <p14:creationId xmlns:p14="http://schemas.microsoft.com/office/powerpoint/2010/main" val="37845305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E9B18C4-14B0-2944-A900-AB5A45755171}"/>
              </a:ext>
            </a:extLst>
          </p:cNvPr>
          <p:cNvSpPr/>
          <p:nvPr/>
        </p:nvSpPr>
        <p:spPr>
          <a:xfrm>
            <a:off x="3044952" y="2651760"/>
            <a:ext cx="9147048" cy="34154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EFD624D-6A62-054C-9A4C-04395FECAAAD}"/>
              </a:ext>
            </a:extLst>
          </p:cNvPr>
          <p:cNvSpPr/>
          <p:nvPr/>
        </p:nvSpPr>
        <p:spPr>
          <a:xfrm>
            <a:off x="0" y="2651760"/>
            <a:ext cx="3044952" cy="42062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E25307-D867-EC4D-B95B-0409FE89D9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9" y="3395134"/>
            <a:ext cx="7494693" cy="528350"/>
          </a:xfrm>
        </p:spPr>
        <p:txBody>
          <a:bodyPr anchor="t">
            <a:noAutofit/>
          </a:bodyPr>
          <a:lstStyle>
            <a:lvl1pPr algn="l">
              <a:lnSpc>
                <a:spcPts val="3400"/>
              </a:lnSpc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GB"/>
              <a:t>Duis </a:t>
            </a:r>
            <a:r>
              <a:rPr lang="en-GB" err="1"/>
              <a:t>autem</a:t>
            </a:r>
            <a:r>
              <a:rPr lang="en-GB"/>
              <a:t> 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B6488C-0CC2-244A-B417-C5C522A2FF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40" y="4984940"/>
            <a:ext cx="7494692" cy="570991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endParaRPr lang="x-non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411C370-8736-9E4E-B5EF-68B4CF7EBA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817498"/>
            <a:ext cx="2206752" cy="876047"/>
          </a:xfrm>
          <a:prstGeom prst="rect">
            <a:avLst/>
          </a:prstGeom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A80A93D-492F-7B4D-B975-3593A0122B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49675" y="3821176"/>
            <a:ext cx="7494588" cy="920940"/>
          </a:xfrm>
        </p:spPr>
        <p:txBody>
          <a:bodyPr anchor="t">
            <a:noAutofit/>
          </a:bodyPr>
          <a:lstStyle>
            <a:lvl1pPr marL="0" indent="0">
              <a:lnSpc>
                <a:spcPts val="3400"/>
              </a:lnSpc>
              <a:buNone/>
              <a:defRPr sz="3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br>
              <a:rPr lang="en-GB"/>
            </a:br>
            <a:r>
              <a:rPr lang="en-GB"/>
              <a:t>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34" name="Text Placeholder 32">
            <a:extLst>
              <a:ext uri="{FF2B5EF4-FFF2-40B4-BE49-F238E27FC236}">
                <a16:creationId xmlns:a16="http://schemas.microsoft.com/office/drawing/2014/main" id="{261BED6D-3DA8-7C48-9A2D-F6655B47F7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73557" y="790829"/>
            <a:ext cx="2670175" cy="846257"/>
          </a:xfrm>
        </p:spPr>
        <p:txBody>
          <a:bodyPr>
            <a:noAutofit/>
          </a:bodyPr>
          <a:lstStyle>
            <a:lvl1pPr marL="0" indent="0" algn="r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algn="r">
              <a:lnSpc>
                <a:spcPct val="120000"/>
              </a:lnSpc>
            </a:pPr>
            <a:r>
              <a:rPr lang="en-GB" sz="1400"/>
              <a:t>Lorem ipsum </a:t>
            </a:r>
            <a:r>
              <a:rPr lang="en-GB" sz="1400" err="1"/>
              <a:t>dolor</a:t>
            </a:r>
            <a:r>
              <a:rPr lang="en-GB" sz="1400"/>
              <a:t> sit </a:t>
            </a:r>
            <a:r>
              <a:rPr lang="en-GB" sz="1400" err="1"/>
              <a:t>amet</a:t>
            </a:r>
            <a:r>
              <a:rPr lang="en-GB" sz="1400"/>
              <a:t> </a:t>
            </a:r>
            <a:r>
              <a:rPr lang="en-GB" sz="1400" err="1"/>
              <a:t>consectetuer</a:t>
            </a:r>
            <a:r>
              <a:rPr lang="en-GB" sz="1400"/>
              <a:t> </a:t>
            </a:r>
            <a:r>
              <a:rPr lang="en-GB" sz="1400" err="1"/>
              <a:t>adip</a:t>
            </a:r>
            <a:r>
              <a:rPr lang="en-GB" sz="1400"/>
              <a:t> </a:t>
            </a:r>
            <a:r>
              <a:rPr lang="en-GB" sz="1400" err="1"/>
              <a:t>iscing</a:t>
            </a:r>
            <a:r>
              <a:rPr lang="en-GB" sz="1400"/>
              <a:t> </a:t>
            </a:r>
            <a:r>
              <a:rPr lang="en-GB" sz="1400" err="1"/>
              <a:t>elit</a:t>
            </a:r>
            <a:r>
              <a:rPr lang="en-GB" sz="1400"/>
              <a:t>, </a:t>
            </a:r>
            <a:r>
              <a:rPr lang="en-GB" sz="1400" err="1"/>
              <a:t>sed</a:t>
            </a:r>
            <a:r>
              <a:rPr lang="en-GB" sz="1400"/>
              <a:t> </a:t>
            </a:r>
            <a:r>
              <a:rPr lang="en-GB" sz="1400" err="1"/>
              <a:t>diam</a:t>
            </a:r>
            <a:r>
              <a:rPr lang="en-GB" sz="1400"/>
              <a:t> </a:t>
            </a:r>
            <a:r>
              <a:rPr lang="en-GB" sz="1400" err="1"/>
              <a:t>nonummy</a:t>
            </a:r>
            <a:r>
              <a:rPr lang="en-GB" sz="1400"/>
              <a:t> </a:t>
            </a:r>
            <a:r>
              <a:rPr lang="en-GB" sz="1400" err="1"/>
              <a:t>nibh</a:t>
            </a:r>
            <a:r>
              <a:rPr lang="en-GB" sz="1400"/>
              <a:t> </a:t>
            </a:r>
            <a:endParaRPr lang="x-none" sz="1400"/>
          </a:p>
        </p:txBody>
      </p:sp>
      <p:sp>
        <p:nvSpPr>
          <p:cNvPr id="10" name="Slide Number Placeholder 26">
            <a:extLst>
              <a:ext uri="{FF2B5EF4-FFF2-40B4-BE49-F238E27FC236}">
                <a16:creationId xmlns:a16="http://schemas.microsoft.com/office/drawing/2014/main" id="{BC42BFD8-BD5C-4F41-B9C4-F78D2AA800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222992" y="6356350"/>
            <a:ext cx="1130808" cy="365125"/>
          </a:xfrm>
        </p:spPr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3936E52-F916-014D-9361-01554302AB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2996" y="3491563"/>
            <a:ext cx="2291425" cy="1338262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7000" spc="-500" baseline="0">
                <a:latin typeface="+mj-lt"/>
              </a:defRPr>
            </a:lvl1pPr>
            <a:lvl2pPr>
              <a:defRPr sz="8000">
                <a:latin typeface="+mj-lt"/>
              </a:defRPr>
            </a:lvl2pPr>
            <a:lvl3pPr>
              <a:defRPr sz="8000">
                <a:latin typeface="+mj-lt"/>
              </a:defRPr>
            </a:lvl3pPr>
            <a:lvl4pPr>
              <a:defRPr sz="8000">
                <a:latin typeface="+mj-lt"/>
              </a:defRPr>
            </a:lvl4pPr>
            <a:lvl5pPr>
              <a:defRPr sz="8000">
                <a:latin typeface="+mj-lt"/>
              </a:defRPr>
            </a:lvl5pPr>
          </a:lstStyle>
          <a:p>
            <a:pPr lvl="0"/>
            <a:r>
              <a:rPr lang="en-GB"/>
              <a:t>1.0</a:t>
            </a:r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39595060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87926BE-B280-4A48-9B5E-1815F0FC37C3}"/>
              </a:ext>
            </a:extLst>
          </p:cNvPr>
          <p:cNvSpPr/>
          <p:nvPr/>
        </p:nvSpPr>
        <p:spPr>
          <a:xfrm>
            <a:off x="0" y="0"/>
            <a:ext cx="12192000" cy="42061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C7E579C-6ADB-3E4C-8579-0D8C25048798}"/>
              </a:ext>
            </a:extLst>
          </p:cNvPr>
          <p:cNvSpPr/>
          <p:nvPr/>
        </p:nvSpPr>
        <p:spPr>
          <a:xfrm>
            <a:off x="8668512" y="1865377"/>
            <a:ext cx="3523488" cy="11862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E9B18C4-14B0-2944-A900-AB5A45755171}"/>
              </a:ext>
            </a:extLst>
          </p:cNvPr>
          <p:cNvSpPr/>
          <p:nvPr/>
        </p:nvSpPr>
        <p:spPr>
          <a:xfrm>
            <a:off x="838200" y="2651760"/>
            <a:ext cx="11353800" cy="34154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E25307-D867-EC4D-B95B-0409FE89D9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9" y="3395134"/>
            <a:ext cx="4919473" cy="528350"/>
          </a:xfrm>
        </p:spPr>
        <p:txBody>
          <a:bodyPr wrap="square" anchor="t">
            <a:noAutofit/>
          </a:bodyPr>
          <a:lstStyle>
            <a:lvl1pPr algn="l">
              <a:lnSpc>
                <a:spcPts val="3400"/>
              </a:lnSpc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GB"/>
              <a:t>Duis </a:t>
            </a:r>
            <a:r>
              <a:rPr lang="en-GB" err="1"/>
              <a:t>autem</a:t>
            </a:r>
            <a:r>
              <a:rPr lang="en-GB"/>
              <a:t> 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B6488C-0CC2-244A-B417-C5C522A2FF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40" y="4984940"/>
            <a:ext cx="4918837" cy="570991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endParaRPr lang="x-non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411C370-8736-9E4E-B5EF-68B4CF7EBA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817498"/>
            <a:ext cx="2206752" cy="876047"/>
          </a:xfrm>
          <a:prstGeom prst="rect">
            <a:avLst/>
          </a:prstGeom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A80A93D-492F-7B4D-B975-3593A0122B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49675" y="3821176"/>
            <a:ext cx="4918837" cy="920940"/>
          </a:xfrm>
        </p:spPr>
        <p:txBody>
          <a:bodyPr anchor="t">
            <a:noAutofit/>
          </a:bodyPr>
          <a:lstStyle>
            <a:lvl1pPr marL="0" indent="0">
              <a:lnSpc>
                <a:spcPts val="3400"/>
              </a:lnSpc>
              <a:buNone/>
              <a:defRPr sz="3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br>
              <a:rPr lang="en-GB"/>
            </a:br>
            <a:r>
              <a:rPr lang="en-GB"/>
              <a:t>in </a:t>
            </a:r>
            <a:r>
              <a:rPr lang="en-GB" err="1"/>
              <a:t>hendrerit</a:t>
            </a:r>
            <a:endParaRPr lang="en-U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F60ED07-17D9-B145-8F41-4F57E8C3A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0768" y="3671163"/>
            <a:ext cx="1803400" cy="12446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06EE7B1-A5B8-B44A-BDB7-E839FE6DA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73895" y="1863916"/>
            <a:ext cx="2132013" cy="787843"/>
          </a:xfrm>
        </p:spPr>
        <p:txBody>
          <a:bodyPr anchor="ctr">
            <a:noAutofit/>
          </a:bodyPr>
          <a:lstStyle>
            <a:lvl1pPr marL="0" indent="0" algn="l">
              <a:lnSpc>
                <a:spcPct val="120000"/>
              </a:lnSpc>
              <a:buNone/>
              <a:defRPr sz="1600">
                <a:latin typeface="+mj-lt"/>
              </a:defRPr>
            </a:lvl1pPr>
            <a:lvl2pPr marL="457200" indent="0" algn="l">
              <a:buNone/>
              <a:defRPr sz="1600">
                <a:latin typeface="+mj-lt"/>
              </a:defRPr>
            </a:lvl2pPr>
            <a:lvl3pPr marL="914400" indent="0" algn="l">
              <a:buNone/>
              <a:defRPr sz="1600">
                <a:latin typeface="+mj-lt"/>
              </a:defRPr>
            </a:lvl3pPr>
            <a:lvl4pPr marL="1371600" indent="0" algn="l">
              <a:buNone/>
              <a:defRPr sz="1600">
                <a:latin typeface="+mj-lt"/>
              </a:defRPr>
            </a:lvl4pPr>
            <a:lvl5pPr marL="1828800" indent="0" algn="l">
              <a:buNone/>
              <a:defRPr sz="1600">
                <a:latin typeface="+mj-lt"/>
              </a:defRPr>
            </a:lvl5pPr>
          </a:lstStyle>
          <a:p>
            <a:pPr algn="l">
              <a:lnSpc>
                <a:spcPct val="120000"/>
              </a:lnSpc>
            </a:pPr>
            <a:r>
              <a:rPr lang="en-GB" sz="1600">
                <a:latin typeface="+mj-lt"/>
              </a:rPr>
              <a:t>Chapter </a:t>
            </a:r>
            <a:r>
              <a:rPr lang="en-GB" sz="1600">
                <a:solidFill>
                  <a:schemeClr val="accent1"/>
                </a:solidFill>
                <a:latin typeface="+mj-lt"/>
              </a:rPr>
              <a:t>1.0</a:t>
            </a:r>
            <a:endParaRPr lang="x-none" sz="16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C670FAF-73BC-5845-B735-A0D366C01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63583" y="3395134"/>
            <a:ext cx="2039938" cy="216079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Clr>
                <a:schemeClr val="tx2"/>
              </a:buClr>
              <a:buSzPct val="165000"/>
              <a:buFont typeface="Arial" panose="020B0604020202020204" pitchFamily="34" charset="0"/>
              <a:buChar char="•"/>
              <a:defRPr sz="1100">
                <a:solidFill>
                  <a:schemeClr val="bg1">
                    <a:lumMod val="75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lvl="0"/>
            <a:r>
              <a:rPr lang="ru-RU"/>
              <a:t>С</a:t>
            </a:r>
            <a:r>
              <a:rPr lang="en-GB" err="1"/>
              <a:t>onsectetuer</a:t>
            </a:r>
            <a:r>
              <a:rPr lang="en-GB"/>
              <a:t> </a:t>
            </a:r>
            <a:r>
              <a:rPr lang="en-GB" err="1"/>
              <a:t>adip</a:t>
            </a:r>
            <a:r>
              <a:rPr lang="en-GB"/>
              <a:t> </a:t>
            </a:r>
            <a:r>
              <a:rPr lang="en-GB" err="1"/>
              <a:t>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 </a:t>
            </a:r>
          </a:p>
          <a:p>
            <a:pPr lvl="0"/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endParaRPr lang="en-UA"/>
          </a:p>
        </p:txBody>
      </p:sp>
      <p:sp>
        <p:nvSpPr>
          <p:cNvPr id="12" name="Slide Number Placeholder 26">
            <a:extLst>
              <a:ext uri="{FF2B5EF4-FFF2-40B4-BE49-F238E27FC236}">
                <a16:creationId xmlns:a16="http://schemas.microsoft.com/office/drawing/2014/main" id="{FC7B8F63-AE85-9345-8140-38C854D89F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222992" y="6356350"/>
            <a:ext cx="1130808" cy="365125"/>
          </a:xfrm>
        </p:spPr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469080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173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010262" y="962793"/>
            <a:ext cx="962205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2012738" y="172212"/>
            <a:ext cx="962205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11482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F17BE2-8D62-0844-952F-3009B5407A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9016" y="861761"/>
            <a:ext cx="1159244" cy="923925"/>
          </a:xfrm>
        </p:spPr>
        <p:txBody>
          <a:bodyPr/>
          <a:lstStyle/>
          <a:p>
            <a:r>
              <a:rPr lang="pl-PL"/>
              <a:t>Kliknij ikonę, aby dodać obraz</a:t>
            </a:r>
            <a:endParaRPr lang="en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B81186-3490-3147-979C-CC4BB1FDD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29036"/>
            <a:ext cx="7290816" cy="548812"/>
          </a:xfrm>
        </p:spPr>
        <p:txBody>
          <a:bodyPr>
            <a:noAutofit/>
          </a:bodyPr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GB"/>
              <a:t>Lorem ipsum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F1228-D4BB-1B46-BF05-80335883F13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631565"/>
            <a:ext cx="10515600" cy="3482978"/>
          </a:xfrm>
        </p:spPr>
        <p:txBody>
          <a:bodyPr>
            <a:noAutofit/>
          </a:bodyPr>
          <a:lstStyle>
            <a:lvl1pPr marL="0" indent="0">
              <a:lnSpc>
                <a:spcPts val="2120"/>
              </a:lnSpc>
              <a:buNone/>
              <a:defRPr sz="14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  <a:p>
            <a:pPr lvl="0"/>
            <a:r>
              <a:rPr lang="en-GB"/>
              <a:t>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illum</a:t>
            </a:r>
            <a:r>
              <a:rPr lang="en-GB"/>
              <a:t>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dolor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  <a:p>
            <a:pPr lvl="0"/>
            <a:r>
              <a:rPr lang="en-GB"/>
              <a:t>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illum</a:t>
            </a:r>
            <a:r>
              <a:rPr lang="en-GB"/>
              <a:t>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. </a:t>
            </a:r>
            <a:endParaRPr lang="x-non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62027A-81E4-AD49-AD76-168D592619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1518691-4BC8-304C-923A-5DEBB220DF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876717"/>
            <a:ext cx="7290816" cy="5539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100C7ECE-F1E5-4245-A73D-F2DC340503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24240" y="1200381"/>
            <a:ext cx="2829560" cy="1200329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1400"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</a:t>
            </a:r>
            <a:r>
              <a:rPr lang="en-GB"/>
              <a:t> </a:t>
            </a:r>
            <a:r>
              <a:rPr lang="en-GB" err="1"/>
              <a:t>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endParaRPr lang="en-UA"/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7465A0F6-F12B-BF41-BE06-3F8EF6C9E78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AA0478D-99A3-BF47-BEF9-B63E82669F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4812F856-D062-F448-AB57-4F6FB83D446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25445" y="373505"/>
            <a:ext cx="8628355" cy="397225"/>
          </a:xfrm>
        </p:spPr>
        <p:txBody>
          <a:bodyPr wrap="square">
            <a:no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36906728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81186-3490-3147-979C-CC4BB1FDD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29036"/>
            <a:ext cx="7290816" cy="548812"/>
          </a:xfrm>
        </p:spPr>
        <p:txBody>
          <a:bodyPr>
            <a:noAutofit/>
          </a:bodyPr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GB"/>
              <a:t>Lorem ipsum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F1228-D4BB-1B46-BF05-80335883F13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638422"/>
            <a:ext cx="6722533" cy="3542242"/>
          </a:xfrm>
        </p:spPr>
        <p:txBody>
          <a:bodyPr>
            <a:noAutofit/>
          </a:bodyPr>
          <a:lstStyle>
            <a:lvl1pPr marL="0" indent="0">
              <a:lnSpc>
                <a:spcPts val="2120"/>
              </a:lnSpc>
              <a:buNone/>
              <a:defRPr sz="14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  <a:p>
            <a:pPr lvl="0"/>
            <a:r>
              <a:rPr lang="en-GB"/>
              <a:t>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illum</a:t>
            </a:r>
            <a:r>
              <a:rPr lang="en-GB"/>
              <a:t>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dolor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.</a:t>
            </a:r>
            <a:endParaRPr lang="x-non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62027A-81E4-AD49-AD76-168D592619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1518691-4BC8-304C-923A-5DEBB220DF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876717"/>
            <a:ext cx="7290816" cy="5539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7465A0F6-F12B-BF41-BE06-3F8EF6C9E78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AA0478D-99A3-BF47-BEF9-B63E82669F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CB41C210-807E-654C-A40D-72EB601FDC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14221" y="373505"/>
            <a:ext cx="8539579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700656D-D118-9346-AE21-4CD732694EB1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789762" y="2638423"/>
            <a:ext cx="3564038" cy="3542242"/>
          </a:xfrm>
        </p:spPr>
        <p:txBody>
          <a:bodyPr anchor="ctr"/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l-PL"/>
              <a:t>Kliknij ikonę, aby dodać obraz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736545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E89211C-5E8F-104F-B3FD-FC529BDD0B8C}"/>
              </a:ext>
            </a:extLst>
          </p:cNvPr>
          <p:cNvSpPr/>
          <p:nvPr/>
        </p:nvSpPr>
        <p:spPr>
          <a:xfrm>
            <a:off x="0" y="1033272"/>
            <a:ext cx="12192000" cy="58247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B81186-3490-3147-979C-CC4BB1FDD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37914"/>
            <a:ext cx="7290816" cy="548812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GB"/>
              <a:t>Lorem ipsum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F1228-D4BB-1B46-BF05-80335883F13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637726"/>
            <a:ext cx="6722533" cy="3483674"/>
          </a:xfrm>
        </p:spPr>
        <p:txBody>
          <a:bodyPr>
            <a:noAutofit/>
          </a:bodyPr>
          <a:lstStyle>
            <a:lvl1pPr marL="0" indent="0">
              <a:lnSpc>
                <a:spcPts val="2120"/>
              </a:lnSpc>
              <a:buNone/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  <a:p>
            <a:pPr lvl="0"/>
            <a:r>
              <a:rPr lang="en-GB"/>
              <a:t>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illum</a:t>
            </a:r>
            <a:r>
              <a:rPr lang="en-GB"/>
              <a:t>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dolor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.</a:t>
            </a:r>
            <a:endParaRPr lang="x-non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62027A-81E4-AD49-AD76-168D592619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1518691-4BC8-304C-923A-5DEBB220DF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894473"/>
            <a:ext cx="7290816" cy="5539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7465A0F6-F12B-BF41-BE06-3F8EF6C9E78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AA0478D-99A3-BF47-BEF9-B63E82669F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CB41C210-807E-654C-A40D-72EB601FDC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7589" y="373505"/>
            <a:ext cx="8566212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9342D80F-CAE1-3642-99D2-792CBC1256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878725" y="2836760"/>
            <a:ext cx="3614265" cy="3343905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668747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FB22393-60A1-6F40-92B4-4DCFD6AD55A6}"/>
              </a:ext>
            </a:extLst>
          </p:cNvPr>
          <p:cNvSpPr/>
          <p:nvPr/>
        </p:nvSpPr>
        <p:spPr>
          <a:xfrm>
            <a:off x="6921910" y="1582994"/>
            <a:ext cx="5348748" cy="45976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6FB7A8-A8F5-1545-92B4-BB7902E9408F}"/>
              </a:ext>
            </a:extLst>
          </p:cNvPr>
          <p:cNvSpPr/>
          <p:nvPr/>
        </p:nvSpPr>
        <p:spPr>
          <a:xfrm rot="2700000">
            <a:off x="6512079" y="3609641"/>
            <a:ext cx="544376" cy="5443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B81186-3490-3147-979C-CC4BB1FDD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29036"/>
            <a:ext cx="6083710" cy="548812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Lorem ipsum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F1228-D4BB-1B46-BF05-80335883F13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1" y="2638422"/>
            <a:ext cx="5670754" cy="3482978"/>
          </a:xfrm>
        </p:spPr>
        <p:txBody>
          <a:bodyPr>
            <a:noAutofit/>
          </a:bodyPr>
          <a:lstStyle>
            <a:lvl1pPr marL="0" indent="0">
              <a:lnSpc>
                <a:spcPts val="2120"/>
              </a:lnSpc>
              <a:buNone/>
              <a:defRPr sz="14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  <a:p>
            <a:pPr lvl="0"/>
            <a:r>
              <a:rPr lang="en-GB"/>
              <a:t>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illum</a:t>
            </a:r>
            <a:r>
              <a:rPr lang="en-GB"/>
              <a:t>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dolor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 </a:t>
            </a:r>
            <a:endParaRPr lang="x-non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62027A-81E4-AD49-AD76-168D592619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1518691-4BC8-304C-923A-5DEBB220DF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876717"/>
            <a:ext cx="6083710" cy="5539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7465A0F6-F12B-BF41-BE06-3F8EF6C9E78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AA0478D-99A3-BF47-BEF9-B63E82669F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CB41C210-807E-654C-A40D-72EB601FDC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7689" y="373505"/>
            <a:ext cx="8646111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933BE2-8EBC-A04E-B5B5-5B514112EA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354535" y="2762862"/>
            <a:ext cx="4138456" cy="3048003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D6693EB-4AC3-C944-920E-41D140268201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7339302" y="1941627"/>
            <a:ext cx="4213605" cy="431270"/>
          </a:xfrm>
        </p:spPr>
        <p:txBody>
          <a:bodyPr anchor="t">
            <a:noAutofit/>
          </a:bodyPr>
          <a:lstStyle>
            <a:lvl1pPr marL="0" indent="0">
              <a:lnSpc>
                <a:spcPts val="2020"/>
              </a:lnSpc>
              <a:buNone/>
              <a:defRPr sz="14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Lorem ipsum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6E5F7F3-4AD3-C246-AD80-9929390C96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38378" y="2193281"/>
            <a:ext cx="4213605" cy="461665"/>
          </a:xfrm>
        </p:spPr>
        <p:txBody>
          <a:bodyPr wrap="square">
            <a:noAutofit/>
          </a:bodyPr>
          <a:lstStyle>
            <a:lvl1pPr marL="0" indent="0">
              <a:lnSpc>
                <a:spcPts val="2020"/>
              </a:lnSpc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1023293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81186-3490-3147-979C-CC4BB1FDD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29036"/>
            <a:ext cx="5257800" cy="548812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Lorem ipsum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F1228-D4BB-1B46-BF05-80335883F13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634052"/>
            <a:ext cx="5354256" cy="3106775"/>
          </a:xfrm>
        </p:spPr>
        <p:txBody>
          <a:bodyPr>
            <a:noAutofit/>
          </a:bodyPr>
          <a:lstStyle>
            <a:lvl1pPr marL="0" indent="0">
              <a:lnSpc>
                <a:spcPts val="2120"/>
              </a:lnSpc>
              <a:buNone/>
              <a:defRPr sz="14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  <a:p>
            <a:pPr lvl="0"/>
            <a:r>
              <a:rPr lang="en-GB"/>
              <a:t>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illum</a:t>
            </a:r>
            <a:r>
              <a:rPr lang="en-GB"/>
              <a:t>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dolor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 </a:t>
            </a:r>
            <a:endParaRPr lang="x-non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62027A-81E4-AD49-AD76-168D592619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1518691-4BC8-304C-923A-5DEBB220DF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876717"/>
            <a:ext cx="5257800" cy="5539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7465A0F6-F12B-BF41-BE06-3F8EF6C9E78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AA0478D-99A3-BF47-BEF9-B63E82669F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CB41C210-807E-654C-A40D-72EB601FDC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25445" y="373505"/>
            <a:ext cx="8628355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A292B0-7D8F-AF49-9209-D3750B839F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27784" y="1507593"/>
            <a:ext cx="4626016" cy="431270"/>
          </a:xfrm>
        </p:spPr>
        <p:txBody>
          <a:bodyPr anchor="t">
            <a:noAutofit/>
          </a:bodyPr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9C535DC-91A2-E246-8E4C-A300402232B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27785" y="2014755"/>
            <a:ext cx="4626016" cy="1286927"/>
          </a:xfrm>
        </p:spPr>
        <p:txBody>
          <a:bodyPr>
            <a:noAutofit/>
          </a:bodyPr>
          <a:lstStyle>
            <a:lvl1pPr marL="0" indent="0">
              <a:lnSpc>
                <a:spcPts val="2120"/>
              </a:lnSpc>
              <a:buNone/>
              <a:defRPr sz="14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</a:t>
            </a:r>
            <a:endParaRPr lang="x-non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1E5971A-612C-9846-9053-D422C4F1C6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7784" y="3556318"/>
            <a:ext cx="4626016" cy="431270"/>
          </a:xfrm>
        </p:spPr>
        <p:txBody>
          <a:bodyPr anchor="t">
            <a:noAutofit/>
          </a:bodyPr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C9DDDE4-0EF4-A04F-95E5-30C8846922B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727785" y="4063481"/>
            <a:ext cx="4626016" cy="1677346"/>
          </a:xfrm>
        </p:spPr>
        <p:txBody>
          <a:bodyPr>
            <a:noAutofit/>
          </a:bodyPr>
          <a:lstStyle>
            <a:lvl1pPr marL="0" indent="0">
              <a:lnSpc>
                <a:spcPts val="2120"/>
              </a:lnSpc>
              <a:buNone/>
              <a:defRPr sz="14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illum</a:t>
            </a:r>
            <a:r>
              <a:rPr lang="en-GB"/>
              <a:t>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dolor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 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534509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409F3-F02F-1545-BDDB-EDE9B8D9F3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1525882"/>
            <a:ext cx="10515600" cy="506941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Lorem ipsum 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9DEC80-57CF-8145-9EDD-592BD35C718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2688103"/>
            <a:ext cx="5157787" cy="431270"/>
          </a:xfrm>
        </p:spPr>
        <p:txBody>
          <a:bodyPr anchor="t">
            <a:noAutofit/>
          </a:bodyPr>
          <a:lstStyle>
            <a:lvl1pPr marL="0" indent="0">
              <a:buNone/>
              <a:defRPr sz="14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Lorem ipsum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CA365B-0D57-4B48-B1CD-6915E6F7A0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688103"/>
            <a:ext cx="5183188" cy="431270"/>
          </a:xfrm>
        </p:spPr>
        <p:txBody>
          <a:bodyPr anchor="t">
            <a:noAutofit/>
          </a:bodyPr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86ACE7-716A-644C-8A7C-DFAC963A1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B64F87-7FE5-834A-9801-1FE4DF87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DE7B2982-966C-4E45-99C1-007C5B4C95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877534"/>
            <a:ext cx="10515600" cy="507832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F7FD9C-75D9-DD4C-BC1F-F90E48B7E7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E0EE530-764F-9248-A522-08E9B4B25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23099" y="373505"/>
            <a:ext cx="8530701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4877694-453B-9947-B71E-9530E04B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864" y="2966391"/>
            <a:ext cx="5157787" cy="46166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AD2AA8-F506-5142-BCD3-6731118DFDC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3555290"/>
            <a:ext cx="5181600" cy="2566109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C10E5DC7-73D8-D348-BC6D-46C75E7E5E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3555290"/>
            <a:ext cx="5181600" cy="2566110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010116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409F3-F02F-1545-BDDB-EDE9B8D9F3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1525882"/>
            <a:ext cx="10515600" cy="506941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Lorem ipsum 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9DEC80-57CF-8145-9EDD-592BD35C718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2688103"/>
            <a:ext cx="5157787" cy="431270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1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ts val="21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86ACE7-716A-644C-8A7C-DFAC963A1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B64F87-7FE5-834A-9801-1FE4DF87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DE7B2982-966C-4E45-99C1-007C5B4C95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882862"/>
            <a:ext cx="10515600" cy="46166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F7FD9C-75D9-DD4C-BC1F-F90E48B7E7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E0EE530-764F-9248-A522-08E9B4B25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29631" y="373505"/>
            <a:ext cx="8424169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AD2AA8-F506-5142-BCD3-6731118DFDC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3253564"/>
            <a:ext cx="10515600" cy="2867836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8546111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9DEC80-57CF-8145-9EDD-592BD35C718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549392"/>
            <a:ext cx="5157787" cy="431270"/>
          </a:xfrm>
        </p:spPr>
        <p:txBody>
          <a:bodyPr anchor="t">
            <a:noAutofit/>
          </a:bodyPr>
          <a:lstStyle>
            <a:lvl1pPr marL="0" indent="0">
              <a:buNone/>
              <a:defRPr sz="14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Lorem ipsum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CA365B-0D57-4B48-B1CD-6915E6F7A0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549392"/>
            <a:ext cx="5183188" cy="431270"/>
          </a:xfrm>
        </p:spPr>
        <p:txBody>
          <a:bodyPr anchor="t">
            <a:noAutofit/>
          </a:bodyPr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86ACE7-716A-644C-8A7C-DFAC963A1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B64F87-7FE5-834A-9801-1FE4DF87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F7FD9C-75D9-DD4C-BC1F-F90E48B7E7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E0EE530-764F-9248-A522-08E9B4B25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47387" y="373505"/>
            <a:ext cx="8406414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4877694-453B-9947-B71E-9530E04B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864" y="1827680"/>
            <a:ext cx="5157787" cy="46166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AD2AA8-F506-5142-BCD3-6731118DFDC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2359742"/>
            <a:ext cx="5181600" cy="3761657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C10E5DC7-73D8-D348-BC6D-46C75E7E5E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359742"/>
            <a:ext cx="5181600" cy="3761658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5682048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F9F07B6-AF2F-2849-BC25-9717F6A19B0F}"/>
              </a:ext>
            </a:extLst>
          </p:cNvPr>
          <p:cNvSpPr/>
          <p:nvPr/>
        </p:nvSpPr>
        <p:spPr>
          <a:xfrm>
            <a:off x="0" y="1033272"/>
            <a:ext cx="12192000" cy="58247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9DEC80-57CF-8145-9EDD-592BD35C718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2688103"/>
            <a:ext cx="5157787" cy="431270"/>
          </a:xfrm>
        </p:spPr>
        <p:txBody>
          <a:bodyPr anchor="t">
            <a:noAutofit/>
          </a:bodyPr>
          <a:lstStyle>
            <a:lvl1pPr marL="0" indent="0">
              <a:buNone/>
              <a:defRPr sz="14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Lorem ipsum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CA365B-0D57-4B48-B1CD-6915E6F7A0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688103"/>
            <a:ext cx="5183188" cy="431270"/>
          </a:xfrm>
        </p:spPr>
        <p:txBody>
          <a:bodyPr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86ACE7-716A-644C-8A7C-DFAC963A1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B64F87-7FE5-834A-9801-1FE4DF87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F7FD9C-75D9-DD4C-BC1F-F90E48B7E7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E0EE530-764F-9248-A522-08E9B4B25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58611" y="373505"/>
            <a:ext cx="8495190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4877694-453B-9947-B71E-9530E04B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864" y="2966391"/>
            <a:ext cx="5157787" cy="46166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1B5D92F-55C3-A148-90D0-3396D3FA12C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3555290"/>
            <a:ext cx="5181600" cy="2566109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0B53CE02-CAEC-FF49-86E2-0DBFE5B087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3555290"/>
            <a:ext cx="5181600" cy="2566110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90D95EB-AAE7-A540-962D-4ED51237517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39788" y="1549392"/>
            <a:ext cx="10512424" cy="431270"/>
          </a:xfrm>
        </p:spPr>
        <p:txBody>
          <a:bodyPr anchor="t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Lorem ipsum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EBB7C6C9-9690-6743-8F50-DBF46AFA9A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864" y="1827680"/>
            <a:ext cx="10513348" cy="46166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36318164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F9F07B6-AF2F-2849-BC25-9717F6A19B0F}"/>
              </a:ext>
            </a:extLst>
          </p:cNvPr>
          <p:cNvSpPr/>
          <p:nvPr/>
        </p:nvSpPr>
        <p:spPr>
          <a:xfrm>
            <a:off x="0" y="1033272"/>
            <a:ext cx="12192000" cy="58247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9DEC80-57CF-8145-9EDD-592BD35C718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2688103"/>
            <a:ext cx="5157787" cy="431270"/>
          </a:xfrm>
        </p:spPr>
        <p:txBody>
          <a:bodyPr anchor="t">
            <a:noAutofit/>
          </a:bodyPr>
          <a:lstStyle>
            <a:lvl1pPr marL="0" indent="0">
              <a:buNone/>
              <a:defRPr sz="14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Lorem ipsum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86ACE7-716A-644C-8A7C-DFAC963A1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B64F87-7FE5-834A-9801-1FE4DF87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F7FD9C-75D9-DD4C-BC1F-F90E48B7E7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E0EE530-764F-9248-A522-08E9B4B25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11877" y="373505"/>
            <a:ext cx="8441924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4877694-453B-9947-B71E-9530E04B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864" y="2966391"/>
            <a:ext cx="5157787" cy="46166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1B5D92F-55C3-A148-90D0-3396D3FA12C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3555290"/>
            <a:ext cx="10515600" cy="2566109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F3ECF81-4BD4-AE4B-A21D-E7D0C4A56E3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39788" y="1549392"/>
            <a:ext cx="10512424" cy="431270"/>
          </a:xfrm>
        </p:spPr>
        <p:txBody>
          <a:bodyPr anchor="t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Lorem ipsum 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477D890E-B9CD-CA41-AB97-3AB140D68D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864" y="1827680"/>
            <a:ext cx="10513348" cy="46166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2996234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1161109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624F5BC-CE19-9546-9302-08F5F38A1ABB}"/>
              </a:ext>
            </a:extLst>
          </p:cNvPr>
          <p:cNvSpPr/>
          <p:nvPr/>
        </p:nvSpPr>
        <p:spPr>
          <a:xfrm>
            <a:off x="0" y="1033272"/>
            <a:ext cx="12192000" cy="58247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9DEC80-57CF-8145-9EDD-592BD35C718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5394"/>
            <a:ext cx="5157787" cy="317026"/>
          </a:xfrm>
        </p:spPr>
        <p:txBody>
          <a:bodyPr anchor="t">
            <a:noAutofit/>
          </a:bodyPr>
          <a:lstStyle>
            <a:lvl1pPr marL="0" indent="0">
              <a:lnSpc>
                <a:spcPts val="2020"/>
              </a:lnSpc>
              <a:buNone/>
              <a:defRPr sz="14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Lorem ipsum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CA365B-0D57-4B48-B1CD-6915E6F7A05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5394"/>
            <a:ext cx="5183188" cy="758702"/>
          </a:xfrm>
        </p:spPr>
        <p:txBody>
          <a:bodyPr anchor="t">
            <a:noAutofit/>
          </a:bodyPr>
          <a:lstStyle>
            <a:lvl1pPr marL="0" indent="0">
              <a:lnSpc>
                <a:spcPts val="2020"/>
              </a:lnSpc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dipiscing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86ACE7-716A-644C-8A7C-DFAC963A1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B64F87-7FE5-834A-9801-1FE4DF87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F7FD9C-75D9-DD4C-BC1F-F90E48B7E7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FEDD3D51-6D2C-2E49-8BBF-9C4BE7EB19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11877" y="373505"/>
            <a:ext cx="8441924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067025F-F817-C548-82A6-FECE6D642D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982430"/>
            <a:ext cx="5157787" cy="46166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B69E7C2-0FB3-6542-B02E-1D0B4998CC7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2585884"/>
            <a:ext cx="5181600" cy="3535515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38E1A194-FF80-4543-99DB-8A01FB409A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585884"/>
            <a:ext cx="5181600" cy="3535516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7024197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953F70-00E3-E04E-BEBB-5A61601A9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C832F1-8C1C-2647-B388-BD7AC07E08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73985E-B980-3045-BAB7-2037716895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308D2F2C-8F4E-B04D-BE57-83E2B1D8A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11877" y="373505"/>
            <a:ext cx="8441924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EE46B6C-4ABB-6D42-AF57-10C6CC27F0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29036"/>
            <a:ext cx="10515600" cy="548812"/>
          </a:xfrm>
        </p:spPr>
        <p:txBody>
          <a:bodyPr>
            <a:noAutofit/>
          </a:bodyPr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GB"/>
              <a:t>Lorem ipsum 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7DEB996D-E4DB-4B4E-A415-0F3953863F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1876717"/>
            <a:ext cx="10515600" cy="5539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11939080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5A375D-CCF9-B64F-9A37-28E0EE8B45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738C5F-832A-3845-A8B8-907E11B5E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C39330-A8A4-9849-95AC-738C31BC05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15FCB162-C9B6-EE41-B6FF-264FA8DAC9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31977" y="373505"/>
            <a:ext cx="8521823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21513569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FF1F99-8A7B-FD47-B788-2FED1544516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638422"/>
            <a:ext cx="3932237" cy="348297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2B099D-1504-7D43-8814-FEE53A08C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FED5C2-57A8-1A40-B14B-8B5F317EDB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9F7E4FF-7BC1-8B47-AEBF-5A28FAD7DD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1525882"/>
            <a:ext cx="4087761" cy="506941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Lorem ipsum </a:t>
            </a:r>
            <a:endParaRPr lang="x-none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BAFE050C-8C9D-5342-A0E5-2EA1E3973E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882862"/>
            <a:ext cx="4087761" cy="46166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latin typeface="+mj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412A21B-5ABB-9E4D-9715-FF6DC264EA87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545394" y="1508126"/>
            <a:ext cx="5808406" cy="4613274"/>
          </a:xfrm>
        </p:spPr>
        <p:txBody>
          <a:bodyPr>
            <a:noAutofit/>
          </a:bodyPr>
          <a:lstStyle>
            <a:lvl1pPr>
              <a:lnSpc>
                <a:spcPts val="2120"/>
              </a:lnSpc>
              <a:defRPr/>
            </a:lvl1pPr>
            <a:lvl2pPr>
              <a:lnSpc>
                <a:spcPts val="2120"/>
              </a:lnSpc>
              <a:defRPr/>
            </a:lvl2pPr>
            <a:lvl3pPr>
              <a:lnSpc>
                <a:spcPts val="2120"/>
              </a:lnSpc>
              <a:defRPr/>
            </a:lvl3pPr>
            <a:lvl4pPr>
              <a:lnSpc>
                <a:spcPts val="2120"/>
              </a:lnSpc>
              <a:defRPr/>
            </a:lvl4pPr>
            <a:lvl5pPr>
              <a:lnSpc>
                <a:spcPts val="2120"/>
              </a:lnSpc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7AAFC5-9542-B846-B568-9C5F5FA56E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6073"/>
            <a:ext cx="1098042" cy="432562"/>
          </a:xfrm>
          <a:prstGeom prst="rect">
            <a:avLst/>
          </a:prstGeom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3C325B3E-EFF7-0545-AC6E-97DB3A356B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02999" y="373505"/>
            <a:ext cx="8450802" cy="400110"/>
          </a:xfrm>
        </p:spPr>
        <p:txBody>
          <a:bodyPr wrap="square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3000"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GB"/>
              <a:t>Chapter title. Duis </a:t>
            </a:r>
            <a:r>
              <a:rPr lang="en-GB" err="1"/>
              <a:t>autem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36543505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E9B18C4-14B0-2944-A900-AB5A4575517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B6488C-0CC2-244A-B417-C5C522A2FF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34822" y="5041090"/>
            <a:ext cx="2639076" cy="998199"/>
          </a:xfrm>
        </p:spPr>
        <p:txBody>
          <a:bodyPr>
            <a:noAutofit/>
          </a:bodyPr>
          <a:lstStyle>
            <a:lvl1pPr marL="0" indent="0" algn="l">
              <a:lnSpc>
                <a:spcPts val="900"/>
              </a:lnSpc>
              <a:buNone/>
              <a:defRPr sz="10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est Bank S.A.</a:t>
            </a:r>
          </a:p>
          <a:p>
            <a:r>
              <a:rPr lang="en-GB"/>
              <a:t>Ul. </a:t>
            </a:r>
            <a:r>
              <a:rPr lang="en-GB" err="1"/>
              <a:t>Postępu</a:t>
            </a:r>
            <a:r>
              <a:rPr lang="en-GB"/>
              <a:t> 18A, 02-676 Warszawa</a:t>
            </a:r>
          </a:p>
          <a:p>
            <a:r>
              <a:rPr lang="en-GB"/>
              <a:t>NIP: 526-10-21-021, REGON: 010928125</a:t>
            </a:r>
          </a:p>
          <a:p>
            <a:r>
              <a:rPr lang="en-GB"/>
              <a:t>Tel. (22) 653 05 00, Fax. (22) 653 05 01</a:t>
            </a:r>
            <a:endParaRPr lang="x-non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E6A264-E519-2F47-8238-D65C00F39D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426" y="535247"/>
            <a:ext cx="2320328" cy="920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9343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9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0049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43952" y="857162"/>
            <a:ext cx="9776358" cy="576263"/>
          </a:xfrm>
          <a:prstGeom prst="rect">
            <a:avLst/>
          </a:prstGeom>
        </p:spPr>
        <p:txBody>
          <a:bodyPr/>
          <a:lstStyle>
            <a:lvl1pPr algn="r">
              <a:defRPr sz="1800" b="0" i="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  <a:sym typeface="Inter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2625" y="435864"/>
            <a:ext cx="9777899" cy="485775"/>
          </a:xfrm>
          <a:prstGeom prst="rect">
            <a:avLst/>
          </a:prstGeom>
        </p:spPr>
        <p:txBody>
          <a:bodyPr vert="horz"/>
          <a:lstStyle>
            <a:lvl1pPr>
              <a:defRPr sz="2000"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54F5C2C-AC0A-7D7F-CF6B-2E2F67252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4175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3931987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02831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157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7B58285-33A8-F8C6-8899-404BEAF2B1AA}"/>
              </a:ext>
            </a:extLst>
          </p:cNvPr>
          <p:cNvSpPr/>
          <p:nvPr userDrawn="1"/>
        </p:nvSpPr>
        <p:spPr>
          <a:xfrm>
            <a:off x="0" y="0"/>
            <a:ext cx="12192000" cy="33147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E640F9-9E19-F0B1-9515-CF861113FF27}"/>
              </a:ext>
            </a:extLst>
          </p:cNvPr>
          <p:cNvSpPr/>
          <p:nvPr userDrawn="1"/>
        </p:nvSpPr>
        <p:spPr>
          <a:xfrm>
            <a:off x="838200" y="2651760"/>
            <a:ext cx="11353800" cy="34154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A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838200" y="2209285"/>
            <a:ext cx="5122164" cy="338554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FC8A54B-1524-8460-1CCF-7028B9D31060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54736" y="471170"/>
            <a:ext cx="2206752" cy="87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6379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912431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2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711552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617705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EC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A544E6-0B4A-77ED-BC1A-C80CCC485EB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536746" y="471170"/>
            <a:ext cx="1098042" cy="432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466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EC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4545C3-6214-5285-3D6F-3BB03CEC8F47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536746" y="471170"/>
            <a:ext cx="1098042" cy="432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571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tags" Target="../tags/tag9.xml"/><Relationship Id="rId39" Type="http://schemas.openxmlformats.org/officeDocument/2006/relationships/image" Target="../media/image1.emf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665525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2012738" y="172212"/>
            <a:ext cx="9624526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2012738" y="1289273"/>
            <a:ext cx="442429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10286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LegendLines" hidden="1">
            <a:extLst>
              <a:ext uri="{FF2B5EF4-FFF2-40B4-BE49-F238E27FC236}">
                <a16:creationId xmlns:a16="http://schemas.microsoft.com/office/drawing/2014/main" id="{87FFCEA2-9B77-C727-4E4B-6A9287F367D1}"/>
              </a:ext>
            </a:extLst>
          </p:cNvPr>
          <p:cNvGrpSpPr/>
          <p:nvPr userDrawn="1"/>
        </p:nvGrpSpPr>
        <p:grpSpPr>
          <a:xfrm>
            <a:off x="10317304" y="3150223"/>
            <a:ext cx="1360036" cy="958286"/>
            <a:chOff x="10162879" y="3243772"/>
            <a:chExt cx="1360036" cy="958286"/>
          </a:xfrm>
        </p:grpSpPr>
        <p:sp>
          <p:nvSpPr>
            <p:cNvPr id="48" name="Legend1" hidden="1">
              <a:extLst>
                <a:ext uri="{FF2B5EF4-FFF2-40B4-BE49-F238E27FC236}">
                  <a16:creationId xmlns:a16="http://schemas.microsoft.com/office/drawing/2014/main" id="{B27D2009-944E-9BED-019E-2E02AFF21F35}"/>
                </a:ext>
              </a:extLst>
            </p:cNvPr>
            <p:cNvSpPr txBox="1"/>
            <p:nvPr/>
          </p:nvSpPr>
          <p:spPr>
            <a:xfrm>
              <a:off x="10886522" y="3243772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49" name="Legend2" hidden="1">
              <a:extLst>
                <a:ext uri="{FF2B5EF4-FFF2-40B4-BE49-F238E27FC236}">
                  <a16:creationId xmlns:a16="http://schemas.microsoft.com/office/drawing/2014/main" id="{C6BB6B14-3F77-9638-73C5-9B68FC0D69AA}"/>
                </a:ext>
              </a:extLst>
            </p:cNvPr>
            <p:cNvSpPr txBox="1"/>
            <p:nvPr/>
          </p:nvSpPr>
          <p:spPr>
            <a:xfrm>
              <a:off x="10886522" y="3615193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50" name="Legend3" hidden="1">
              <a:extLst>
                <a:ext uri="{FF2B5EF4-FFF2-40B4-BE49-F238E27FC236}">
                  <a16:creationId xmlns:a16="http://schemas.microsoft.com/office/drawing/2014/main" id="{D4150431-0D67-2E67-A053-E11B3D23A043}"/>
                </a:ext>
              </a:extLst>
            </p:cNvPr>
            <p:cNvSpPr txBox="1"/>
            <p:nvPr/>
          </p:nvSpPr>
          <p:spPr>
            <a:xfrm>
              <a:off x="10886522" y="3986614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51" name="LineLegend3" hidden="1">
              <a:extLst>
                <a:ext uri="{FF2B5EF4-FFF2-40B4-BE49-F238E27FC236}">
                  <a16:creationId xmlns:a16="http://schemas.microsoft.com/office/drawing/2014/main" id="{F333B10B-CAD1-122B-73B9-8D329EB25A4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52" name="LineLegend2" hidden="1">
              <a:extLst>
                <a:ext uri="{FF2B5EF4-FFF2-40B4-BE49-F238E27FC236}">
                  <a16:creationId xmlns:a16="http://schemas.microsoft.com/office/drawing/2014/main" id="{37883C60-8FDE-4B0A-331F-4470808E54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53" name="LineLegend1" hidden="1">
              <a:extLst>
                <a:ext uri="{FF2B5EF4-FFF2-40B4-BE49-F238E27FC236}">
                  <a16:creationId xmlns:a16="http://schemas.microsoft.com/office/drawing/2014/main" id="{461E49F9-0114-11CB-102F-5240FE01140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54" name="LegendMoons" hidden="1">
            <a:extLst>
              <a:ext uri="{FF2B5EF4-FFF2-40B4-BE49-F238E27FC236}">
                <a16:creationId xmlns:a16="http://schemas.microsoft.com/office/drawing/2014/main" id="{13125736-9252-AC41-F695-323EA799FFB3}"/>
              </a:ext>
            </a:extLst>
          </p:cNvPr>
          <p:cNvGrpSpPr/>
          <p:nvPr userDrawn="1"/>
        </p:nvGrpSpPr>
        <p:grpSpPr>
          <a:xfrm>
            <a:off x="10688315" y="1145373"/>
            <a:ext cx="989025" cy="1731859"/>
            <a:chOff x="7723680" y="1702457"/>
            <a:chExt cx="989025" cy="1731859"/>
          </a:xfrm>
        </p:grpSpPr>
        <p:sp>
          <p:nvSpPr>
            <p:cNvPr id="55" name="Legend1" hidden="1">
              <a:extLst>
                <a:ext uri="{FF2B5EF4-FFF2-40B4-BE49-F238E27FC236}">
                  <a16:creationId xmlns:a16="http://schemas.microsoft.com/office/drawing/2014/main" id="{9D6BBB88-8A41-3224-A12B-962AB55EE527}"/>
                </a:ext>
              </a:extLst>
            </p:cNvPr>
            <p:cNvSpPr txBox="1"/>
            <p:nvPr/>
          </p:nvSpPr>
          <p:spPr>
            <a:xfrm>
              <a:off x="8076312" y="1709816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56" name="Legend2" hidden="1">
              <a:extLst>
                <a:ext uri="{FF2B5EF4-FFF2-40B4-BE49-F238E27FC236}">
                  <a16:creationId xmlns:a16="http://schemas.microsoft.com/office/drawing/2014/main" id="{02411DE6-CC1A-6C30-CDF2-7FCA25FE3912}"/>
                </a:ext>
              </a:extLst>
            </p:cNvPr>
            <p:cNvSpPr txBox="1"/>
            <p:nvPr/>
          </p:nvSpPr>
          <p:spPr>
            <a:xfrm>
              <a:off x="8076312" y="2085275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58" name="Legend3" hidden="1">
              <a:extLst>
                <a:ext uri="{FF2B5EF4-FFF2-40B4-BE49-F238E27FC236}">
                  <a16:creationId xmlns:a16="http://schemas.microsoft.com/office/drawing/2014/main" id="{5BC9F278-C2AE-E344-9928-78B3D39E0BFC}"/>
                </a:ext>
              </a:extLst>
            </p:cNvPr>
            <p:cNvSpPr txBox="1"/>
            <p:nvPr/>
          </p:nvSpPr>
          <p:spPr>
            <a:xfrm>
              <a:off x="8076312" y="2460734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03" name="Legend4" hidden="1">
              <a:extLst>
                <a:ext uri="{FF2B5EF4-FFF2-40B4-BE49-F238E27FC236}">
                  <a16:creationId xmlns:a16="http://schemas.microsoft.com/office/drawing/2014/main" id="{8FD50C8D-1922-A453-9826-29EFC0658BE0}"/>
                </a:ext>
              </a:extLst>
            </p:cNvPr>
            <p:cNvSpPr txBox="1"/>
            <p:nvPr/>
          </p:nvSpPr>
          <p:spPr>
            <a:xfrm>
              <a:off x="8076312" y="2836193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04" name="Legend5" hidden="1">
              <a:extLst>
                <a:ext uri="{FF2B5EF4-FFF2-40B4-BE49-F238E27FC236}">
                  <a16:creationId xmlns:a16="http://schemas.microsoft.com/office/drawing/2014/main" id="{8B89B563-6D40-CABC-54AF-C5713470EBF7}"/>
                </a:ext>
              </a:extLst>
            </p:cNvPr>
            <p:cNvSpPr txBox="1"/>
            <p:nvPr/>
          </p:nvSpPr>
          <p:spPr>
            <a:xfrm>
              <a:off x="8076312" y="3211654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06" name="MoonLegend1" hidden="1">
              <a:extLst>
                <a:ext uri="{FF2B5EF4-FFF2-40B4-BE49-F238E27FC236}">
                  <a16:creationId xmlns:a16="http://schemas.microsoft.com/office/drawing/2014/main" id="{48F28CD0-3B8E-7997-3E58-AD55D6B80963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0" name="Oval 159" hidden="1">
                <a:extLst>
                  <a:ext uri="{FF2B5EF4-FFF2-40B4-BE49-F238E27FC236}">
                    <a16:creationId xmlns:a16="http://schemas.microsoft.com/office/drawing/2014/main" id="{762109AA-7C04-B0E3-2944-5D60C539634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61" name="Arc 160" hidden="1">
                <a:extLst>
                  <a:ext uri="{FF2B5EF4-FFF2-40B4-BE49-F238E27FC236}">
                    <a16:creationId xmlns:a16="http://schemas.microsoft.com/office/drawing/2014/main" id="{3CFCA3D0-0F43-EFFB-A49B-BF0DCB89177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48" name="MoonLegend2" hidden="1">
              <a:extLst>
                <a:ext uri="{FF2B5EF4-FFF2-40B4-BE49-F238E27FC236}">
                  <a16:creationId xmlns:a16="http://schemas.microsoft.com/office/drawing/2014/main" id="{5AED60DD-8249-96A8-4ACE-001A989EED2D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58" name="Oval 157" hidden="1">
                <a:extLst>
                  <a:ext uri="{FF2B5EF4-FFF2-40B4-BE49-F238E27FC236}">
                    <a16:creationId xmlns:a16="http://schemas.microsoft.com/office/drawing/2014/main" id="{E7ABD11F-8EC2-ED5A-D679-E75D4ACB06E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59" name="Arc 158" hidden="1">
                <a:extLst>
                  <a:ext uri="{FF2B5EF4-FFF2-40B4-BE49-F238E27FC236}">
                    <a16:creationId xmlns:a16="http://schemas.microsoft.com/office/drawing/2014/main" id="{7AE44001-BD2B-688F-9C0E-FB3F1121287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49" name="MoonLegend3" hidden="1">
              <a:extLst>
                <a:ext uri="{FF2B5EF4-FFF2-40B4-BE49-F238E27FC236}">
                  <a16:creationId xmlns:a16="http://schemas.microsoft.com/office/drawing/2014/main" id="{C440C130-0BD0-DD85-1DE8-A54BF2D4EAB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56" name="Oval 155" hidden="1">
                <a:extLst>
                  <a:ext uri="{FF2B5EF4-FFF2-40B4-BE49-F238E27FC236}">
                    <a16:creationId xmlns:a16="http://schemas.microsoft.com/office/drawing/2014/main" id="{0934D684-A244-ACBF-3B35-5046CA41D67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57" name="Arc 156" hidden="1">
                <a:extLst>
                  <a:ext uri="{FF2B5EF4-FFF2-40B4-BE49-F238E27FC236}">
                    <a16:creationId xmlns:a16="http://schemas.microsoft.com/office/drawing/2014/main" id="{A7C5C5FB-C123-F817-892B-B6FE881BC6C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50" name="MoonLegend4" hidden="1">
              <a:extLst>
                <a:ext uri="{FF2B5EF4-FFF2-40B4-BE49-F238E27FC236}">
                  <a16:creationId xmlns:a16="http://schemas.microsoft.com/office/drawing/2014/main" id="{650D6266-589A-6E83-2423-8DD2AB31417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4" name="Oval 153" hidden="1">
                <a:extLst>
                  <a:ext uri="{FF2B5EF4-FFF2-40B4-BE49-F238E27FC236}">
                    <a16:creationId xmlns:a16="http://schemas.microsoft.com/office/drawing/2014/main" id="{5D91DD26-D199-305F-69DA-5BD77C57B8AC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55" name="Arc 154" hidden="1">
                <a:extLst>
                  <a:ext uri="{FF2B5EF4-FFF2-40B4-BE49-F238E27FC236}">
                    <a16:creationId xmlns:a16="http://schemas.microsoft.com/office/drawing/2014/main" id="{BCD4DBE5-3715-068A-75BE-433C26D50EC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51" name="MoonLegend5" hidden="1">
              <a:extLst>
                <a:ext uri="{FF2B5EF4-FFF2-40B4-BE49-F238E27FC236}">
                  <a16:creationId xmlns:a16="http://schemas.microsoft.com/office/drawing/2014/main" id="{361B4DB5-B4F7-CF3B-B4F8-8C73F91D2728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2" name="Oval 151" hidden="1">
                <a:extLst>
                  <a:ext uri="{FF2B5EF4-FFF2-40B4-BE49-F238E27FC236}">
                    <a16:creationId xmlns:a16="http://schemas.microsoft.com/office/drawing/2014/main" id="{312D1616-23AE-084A-048B-37B8DE7CCD5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Arc 152" hidden="1">
                <a:extLst>
                  <a:ext uri="{FF2B5EF4-FFF2-40B4-BE49-F238E27FC236}">
                    <a16:creationId xmlns:a16="http://schemas.microsoft.com/office/drawing/2014/main" id="{087008F7-DB4C-35B5-5438-A16EC7BD3C9C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62" name="LegendBoxes" hidden="1">
            <a:extLst>
              <a:ext uri="{FF2B5EF4-FFF2-40B4-BE49-F238E27FC236}">
                <a16:creationId xmlns:a16="http://schemas.microsoft.com/office/drawing/2014/main" id="{FC36B559-05A0-5824-6C8E-8E289A46EFFC}"/>
              </a:ext>
            </a:extLst>
          </p:cNvPr>
          <p:cNvGrpSpPr/>
          <p:nvPr userDrawn="1"/>
        </p:nvGrpSpPr>
        <p:grpSpPr>
          <a:xfrm>
            <a:off x="10714801" y="4381500"/>
            <a:ext cx="962539" cy="1717282"/>
            <a:chOff x="10652400" y="4322824"/>
            <a:chExt cx="962539" cy="1717282"/>
          </a:xfrm>
        </p:grpSpPr>
        <p:sp>
          <p:nvSpPr>
            <p:cNvPr id="163" name="RectangleLegend1" hidden="1">
              <a:extLst>
                <a:ext uri="{FF2B5EF4-FFF2-40B4-BE49-F238E27FC236}">
                  <a16:creationId xmlns:a16="http://schemas.microsoft.com/office/drawing/2014/main" id="{0410EB2D-A8B4-6BDD-4665-73C62D2205F6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2" hidden="1">
              <a:extLst>
                <a:ext uri="{FF2B5EF4-FFF2-40B4-BE49-F238E27FC236}">
                  <a16:creationId xmlns:a16="http://schemas.microsoft.com/office/drawing/2014/main" id="{23CFD367-8A57-5CAE-ABB9-801B479371B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3" hidden="1">
              <a:extLst>
                <a:ext uri="{FF2B5EF4-FFF2-40B4-BE49-F238E27FC236}">
                  <a16:creationId xmlns:a16="http://schemas.microsoft.com/office/drawing/2014/main" id="{54D406E7-7996-FCFC-84E4-3DA875E1BCF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4" hidden="1">
              <a:extLst>
                <a:ext uri="{FF2B5EF4-FFF2-40B4-BE49-F238E27FC236}">
                  <a16:creationId xmlns:a16="http://schemas.microsoft.com/office/drawing/2014/main" id="{F1F298F4-FC20-D5F0-9B9F-DFB29964ABEE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67" name="RectangleLegend5" hidden="1">
              <a:extLst>
                <a:ext uri="{FF2B5EF4-FFF2-40B4-BE49-F238E27FC236}">
                  <a16:creationId xmlns:a16="http://schemas.microsoft.com/office/drawing/2014/main" id="{A8D533BA-4B27-FB3B-71EF-1B03C7D2FD9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68" name="Legend1" hidden="1">
              <a:extLst>
                <a:ext uri="{FF2B5EF4-FFF2-40B4-BE49-F238E27FC236}">
                  <a16:creationId xmlns:a16="http://schemas.microsoft.com/office/drawing/2014/main" id="{B5AE962F-009D-B8A1-521D-345E01561228}"/>
                </a:ext>
              </a:extLst>
            </p:cNvPr>
            <p:cNvSpPr txBox="1"/>
            <p:nvPr/>
          </p:nvSpPr>
          <p:spPr>
            <a:xfrm>
              <a:off x="10978546" y="4322824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0" name="Legend2" hidden="1">
              <a:extLst>
                <a:ext uri="{FF2B5EF4-FFF2-40B4-BE49-F238E27FC236}">
                  <a16:creationId xmlns:a16="http://schemas.microsoft.com/office/drawing/2014/main" id="{38A2A188-348A-BD03-FC50-F002A24A3728}"/>
                </a:ext>
              </a:extLst>
            </p:cNvPr>
            <p:cNvSpPr txBox="1"/>
            <p:nvPr/>
          </p:nvSpPr>
          <p:spPr>
            <a:xfrm>
              <a:off x="10978546" y="4702322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1" name="Legend3" hidden="1">
              <a:extLst>
                <a:ext uri="{FF2B5EF4-FFF2-40B4-BE49-F238E27FC236}">
                  <a16:creationId xmlns:a16="http://schemas.microsoft.com/office/drawing/2014/main" id="{02140DB2-D83D-7C84-74B9-9DACF1DF8303}"/>
                </a:ext>
              </a:extLst>
            </p:cNvPr>
            <p:cNvSpPr txBox="1"/>
            <p:nvPr/>
          </p:nvSpPr>
          <p:spPr>
            <a:xfrm>
              <a:off x="10978546" y="5081820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4" hidden="1">
              <a:extLst>
                <a:ext uri="{FF2B5EF4-FFF2-40B4-BE49-F238E27FC236}">
                  <a16:creationId xmlns:a16="http://schemas.microsoft.com/office/drawing/2014/main" id="{ED798A2F-11C4-C5BA-6646-88B6D27791F0}"/>
                </a:ext>
              </a:extLst>
            </p:cNvPr>
            <p:cNvSpPr txBox="1"/>
            <p:nvPr/>
          </p:nvSpPr>
          <p:spPr>
            <a:xfrm>
              <a:off x="10978546" y="5453241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5" hidden="1">
              <a:extLst>
                <a:ext uri="{FF2B5EF4-FFF2-40B4-BE49-F238E27FC236}">
                  <a16:creationId xmlns:a16="http://schemas.microsoft.com/office/drawing/2014/main" id="{4A7A0E0C-69A5-30FB-C9FA-176250DAF62B}"/>
                </a:ext>
              </a:extLst>
            </p:cNvPr>
            <p:cNvSpPr txBox="1"/>
            <p:nvPr/>
          </p:nvSpPr>
          <p:spPr>
            <a:xfrm>
              <a:off x="10978545" y="5824662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4035DC79-9436-186D-A653-F034FC73A9E5}"/>
              </a:ext>
            </a:extLst>
          </p:cNvPr>
          <p:cNvPicPr>
            <a:picLocks noChangeAspect="1"/>
          </p:cNvPicPr>
          <p:nvPr userDrawn="1"/>
        </p:nvPicPr>
        <p:blipFill>
          <a:blip r:embed="rId40"/>
          <a:stretch>
            <a:fillRect/>
          </a:stretch>
        </p:blipFill>
        <p:spPr>
          <a:xfrm>
            <a:off x="554736" y="471170"/>
            <a:ext cx="1098042" cy="432562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7C4E4FC2-FAB6-4E11-F8CC-2982911C3F2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8161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l-PL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2 - DO UŻYTKU WEWNĘTRZNEGO</a:t>
            </a:r>
          </a:p>
        </p:txBody>
      </p:sp>
    </p:spTree>
    <p:extLst>
      <p:ext uri="{BB962C8B-B14F-4D97-AF65-F5344CB8AC3E}">
        <p14:creationId xmlns:p14="http://schemas.microsoft.com/office/powerpoint/2010/main" val="17904551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9D390C2-F8C1-524D-8D66-245575666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19155"/>
            <a:ext cx="10515600" cy="5488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FB2452-9348-854F-B200-7543DF5BD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838447"/>
            <a:ext cx="10515600" cy="33168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ACE58F-B67E-8442-A1EA-0C91E8060D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7986B4-8244-4C84-A2D2-EE9AA1495801}" type="datetimeFigureOut">
              <a:rPr lang="pl-PL" smtClean="0"/>
              <a:t>09.02.2026</a:t>
            </a:fld>
            <a:endParaRPr lang="pl-P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B86AC5-65D5-B843-AEB3-E74B49D35F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22992" y="6356350"/>
            <a:ext cx="11308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4FE3FA-D360-4EB4-9226-E3AFDCFA6C31}" type="slidenum">
              <a:rPr lang="pl-PL" smtClean="0"/>
              <a:t>‹#›</a:t>
            </a:fld>
            <a:endParaRPr lang="pl-PL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F6A6466B-EF36-3BB0-8FA9-913D3E7EAE6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8161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l-PL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2 - DO UŻYTKU WEWNĘTRZNEGO</a:t>
            </a:r>
          </a:p>
        </p:txBody>
      </p:sp>
    </p:spTree>
    <p:extLst>
      <p:ext uri="{BB962C8B-B14F-4D97-AF65-F5344CB8AC3E}">
        <p14:creationId xmlns:p14="http://schemas.microsoft.com/office/powerpoint/2010/main" val="2399013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ts val="212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ts val="212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12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12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12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10.png"/><Relationship Id="rId7" Type="http://schemas.openxmlformats.org/officeDocument/2006/relationships/image" Target="../media/image35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Obraz 13">
            <a:extLst>
              <a:ext uri="{FF2B5EF4-FFF2-40B4-BE49-F238E27FC236}">
                <a16:creationId xmlns:a16="http://schemas.microsoft.com/office/drawing/2014/main" id="{7327DD8D-7B04-BFAD-1471-A7DBA9645E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13000"/>
            <a:ext cx="12192000" cy="44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1934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>
            <a:extLst>
              <a:ext uri="{FF2B5EF4-FFF2-40B4-BE49-F238E27FC236}">
                <a16:creationId xmlns:a16="http://schemas.microsoft.com/office/drawing/2014/main" id="{714AB58C-B93B-D4B8-77BA-FDE37FA05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13000"/>
            <a:ext cx="12192000" cy="4445000"/>
          </a:xfrm>
          <a:prstGeom prst="rect">
            <a:avLst/>
          </a:prstGeom>
        </p:spPr>
      </p:pic>
      <p:sp>
        <p:nvSpPr>
          <p:cNvPr id="3" name="Tytuł 2">
            <a:extLst>
              <a:ext uri="{FF2B5EF4-FFF2-40B4-BE49-F238E27FC236}">
                <a16:creationId xmlns:a16="http://schemas.microsoft.com/office/drawing/2014/main" id="{3C830BF1-C82A-8958-8B10-F1968548D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8954" y="691979"/>
            <a:ext cx="9778130" cy="485775"/>
          </a:xfrm>
        </p:spPr>
        <p:txBody>
          <a:bodyPr/>
          <a:lstStyle/>
          <a:p>
            <a:pPr algn="r"/>
            <a:r>
              <a:rPr lang="pl-PL" sz="4000" dirty="0">
                <a:solidFill>
                  <a:schemeClr val="accent6"/>
                </a:solidFill>
                <a:latin typeface="Athletics Bold" panose="02000000000000000000" pitchFamily="50" charset="0"/>
              </a:rPr>
              <a:t>AKTYWIZACJA PRACOWNIKÓW  </a:t>
            </a:r>
          </a:p>
        </p:txBody>
      </p:sp>
      <p:pic>
        <p:nvPicPr>
          <p:cNvPr id="3074" name="x_Obraz 2">
            <a:extLst>
              <a:ext uri="{FF2B5EF4-FFF2-40B4-BE49-F238E27FC236}">
                <a16:creationId xmlns:a16="http://schemas.microsoft.com/office/drawing/2014/main" id="{B95E0D8A-404C-D98B-7032-A719E3F123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592" y="1953063"/>
            <a:ext cx="7053262" cy="1430338"/>
          </a:xfrm>
          <a:prstGeom prst="rect">
            <a:avLst/>
          </a:prstGeom>
          <a:noFill/>
          <a:ln w="3175">
            <a:solidFill>
              <a:schemeClr val="accent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ymbol zastępczy tekstu 1">
            <a:extLst>
              <a:ext uri="{FF2B5EF4-FFF2-40B4-BE49-F238E27FC236}">
                <a16:creationId xmlns:a16="http://schemas.microsoft.com/office/drawing/2014/main" id="{D61F93A1-7311-4881-B7DF-AC459573A8EE}"/>
              </a:ext>
            </a:extLst>
          </p:cNvPr>
          <p:cNvSpPr txBox="1">
            <a:spLocks/>
          </p:cNvSpPr>
          <p:nvPr/>
        </p:nvSpPr>
        <p:spPr>
          <a:xfrm>
            <a:off x="2218954" y="4835945"/>
            <a:ext cx="37578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800" b="0" i="0" kern="120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  <a:sym typeface="Inter" panose="020B060403050404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/>
            <a:r>
              <a:rPr lang="pl-PL" sz="2000" dirty="0">
                <a:latin typeface="Athletics Bold" panose="02000000000000000000" pitchFamily="50" charset="0"/>
              </a:rPr>
              <a:t>NAGRODY FINANSOWE</a:t>
            </a:r>
            <a:br>
              <a:rPr lang="pl-PL" sz="2000" dirty="0">
                <a:latin typeface="Athletics Bold" panose="02000000000000000000" pitchFamily="50" charset="0"/>
              </a:rPr>
            </a:br>
            <a:r>
              <a:rPr lang="pl-PL" sz="2000" dirty="0">
                <a:latin typeface="Athletics Bold" panose="02000000000000000000" pitchFamily="50" charset="0"/>
              </a:rPr>
              <a:t> = REALNA MOTYWACJA</a:t>
            </a:r>
          </a:p>
        </p:txBody>
      </p:sp>
      <p:sp>
        <p:nvSpPr>
          <p:cNvPr id="6" name="Symbol zastępczy tekstu 1">
            <a:extLst>
              <a:ext uri="{FF2B5EF4-FFF2-40B4-BE49-F238E27FC236}">
                <a16:creationId xmlns:a16="http://schemas.microsoft.com/office/drawing/2014/main" id="{E244FF21-571E-3F6B-0A19-BF067D619DCB}"/>
              </a:ext>
            </a:extLst>
          </p:cNvPr>
          <p:cNvSpPr txBox="1">
            <a:spLocks/>
          </p:cNvSpPr>
          <p:nvPr/>
        </p:nvSpPr>
        <p:spPr>
          <a:xfrm>
            <a:off x="6215223" y="4797925"/>
            <a:ext cx="3757825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800" b="0" i="0" kern="120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  <a:sym typeface="Inter" panose="020B060403050404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/>
            <a:r>
              <a:rPr lang="pl-PL" sz="2000" dirty="0">
                <a:latin typeface="Athletics Bold" panose="02000000000000000000" pitchFamily="50" charset="0"/>
              </a:rPr>
              <a:t>NOWE ROZWIĄZANIA WDROŻONE DO CODZIENNEJ PRACY </a:t>
            </a:r>
          </a:p>
        </p:txBody>
      </p:sp>
      <p:sp>
        <p:nvSpPr>
          <p:cNvPr id="14" name="Strzałka: w dół 13">
            <a:extLst>
              <a:ext uri="{FF2B5EF4-FFF2-40B4-BE49-F238E27FC236}">
                <a16:creationId xmlns:a16="http://schemas.microsoft.com/office/drawing/2014/main" id="{9657FC42-B502-0CE9-8541-3E114B9D3132}"/>
              </a:ext>
            </a:extLst>
          </p:cNvPr>
          <p:cNvSpPr/>
          <p:nvPr/>
        </p:nvSpPr>
        <p:spPr>
          <a:xfrm>
            <a:off x="7759700" y="3661181"/>
            <a:ext cx="511160" cy="923330"/>
          </a:xfrm>
          <a:prstGeom prst="downArrow">
            <a:avLst/>
          </a:prstGeom>
          <a:solidFill>
            <a:schemeClr val="accent3"/>
          </a:solidFill>
          <a:ln w="635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sp>
        <p:nvSpPr>
          <p:cNvPr id="15" name="Strzałka: w dół 14">
            <a:extLst>
              <a:ext uri="{FF2B5EF4-FFF2-40B4-BE49-F238E27FC236}">
                <a16:creationId xmlns:a16="http://schemas.microsoft.com/office/drawing/2014/main" id="{BB50CE10-92BE-EE57-0784-80D7DEC799EB}"/>
              </a:ext>
            </a:extLst>
          </p:cNvPr>
          <p:cNvSpPr/>
          <p:nvPr/>
        </p:nvSpPr>
        <p:spPr>
          <a:xfrm>
            <a:off x="3882654" y="3648008"/>
            <a:ext cx="511160" cy="923330"/>
          </a:xfrm>
          <a:prstGeom prst="downArrow">
            <a:avLst/>
          </a:prstGeom>
          <a:solidFill>
            <a:schemeClr val="accent3"/>
          </a:solidFill>
          <a:ln w="635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9229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>
            <a:extLst>
              <a:ext uri="{FF2B5EF4-FFF2-40B4-BE49-F238E27FC236}">
                <a16:creationId xmlns:a16="http://schemas.microsoft.com/office/drawing/2014/main" id="{08BBCE82-E776-B232-FE95-AE51B410A0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13000"/>
            <a:ext cx="12192000" cy="4445000"/>
          </a:xfrm>
          <a:prstGeom prst="rect">
            <a:avLst/>
          </a:prstGeom>
        </p:spPr>
      </p:pic>
      <p:sp>
        <p:nvSpPr>
          <p:cNvPr id="3" name="Tytuł 2">
            <a:extLst>
              <a:ext uri="{FF2B5EF4-FFF2-40B4-BE49-F238E27FC236}">
                <a16:creationId xmlns:a16="http://schemas.microsoft.com/office/drawing/2014/main" id="{40FB949D-E1D0-6219-6CAC-800300811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EFEKTY KONKURSU</a:t>
            </a:r>
          </a:p>
        </p:txBody>
      </p:sp>
      <p:sp>
        <p:nvSpPr>
          <p:cNvPr id="5" name="Prostokąt: zaokrąglone rogi 4">
            <a:extLst>
              <a:ext uri="{FF2B5EF4-FFF2-40B4-BE49-F238E27FC236}">
                <a16:creationId xmlns:a16="http://schemas.microsoft.com/office/drawing/2014/main" id="{D7F19538-814D-BC66-1F6C-79545983DB64}"/>
              </a:ext>
            </a:extLst>
          </p:cNvPr>
          <p:cNvSpPr/>
          <p:nvPr/>
        </p:nvSpPr>
        <p:spPr>
          <a:xfrm>
            <a:off x="9288780" y="1675690"/>
            <a:ext cx="2700000" cy="900000"/>
          </a:xfrm>
          <a:prstGeom prst="roundRect">
            <a:avLst/>
          </a:prstGeom>
          <a:noFill/>
          <a:ln w="6350" cap="sq">
            <a:solidFill>
              <a:srgbClr val="AFFFD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200" dirty="0">
                <a:solidFill>
                  <a:schemeClr val="tx1"/>
                </a:solidFill>
                <a:latin typeface="Athletics Bold" panose="02000000000000000000" pitchFamily="50" charset="0"/>
              </a:rPr>
              <a:t>AUDYTOR PROSTEGO TEKSTU</a:t>
            </a:r>
          </a:p>
        </p:txBody>
      </p:sp>
      <p:sp>
        <p:nvSpPr>
          <p:cNvPr id="7" name="Prostokąt: zaokrąglone rogi 6">
            <a:extLst>
              <a:ext uri="{FF2B5EF4-FFF2-40B4-BE49-F238E27FC236}">
                <a16:creationId xmlns:a16="http://schemas.microsoft.com/office/drawing/2014/main" id="{C037C4E7-0F4F-5BA5-205F-610782B159B9}"/>
              </a:ext>
            </a:extLst>
          </p:cNvPr>
          <p:cNvSpPr/>
          <p:nvPr/>
        </p:nvSpPr>
        <p:spPr>
          <a:xfrm>
            <a:off x="6403980" y="1675690"/>
            <a:ext cx="2700000" cy="900000"/>
          </a:xfrm>
          <a:prstGeom prst="roundRect">
            <a:avLst/>
          </a:prstGeom>
          <a:noFill/>
          <a:ln w="635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200" dirty="0">
                <a:solidFill>
                  <a:schemeClr val="tx1"/>
                </a:solidFill>
                <a:latin typeface="Athletics Bold" panose="02000000000000000000" pitchFamily="50" charset="0"/>
              </a:rPr>
              <a:t>ASYSTENT DORADCY – BOT ODPOWIADAJĄCY NA PYTANIA ZWIĄZANE Z PROCESEM SPRZEDAŻOWYM </a:t>
            </a:r>
          </a:p>
        </p:txBody>
      </p:sp>
      <p:sp>
        <p:nvSpPr>
          <p:cNvPr id="8" name="Prostokąt: zaokrąglone rogi 7">
            <a:extLst>
              <a:ext uri="{FF2B5EF4-FFF2-40B4-BE49-F238E27FC236}">
                <a16:creationId xmlns:a16="http://schemas.microsoft.com/office/drawing/2014/main" id="{EEFEADDC-3810-4072-DF07-7E49EA81783C}"/>
              </a:ext>
            </a:extLst>
          </p:cNvPr>
          <p:cNvSpPr/>
          <p:nvPr/>
        </p:nvSpPr>
        <p:spPr>
          <a:xfrm>
            <a:off x="6403980" y="2742665"/>
            <a:ext cx="2700000" cy="900000"/>
          </a:xfrm>
          <a:prstGeom prst="roundRect">
            <a:avLst/>
          </a:prstGeom>
          <a:noFill/>
          <a:ln w="635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200" dirty="0">
                <a:solidFill>
                  <a:schemeClr val="tx1"/>
                </a:solidFill>
                <a:latin typeface="Athletics Bold" panose="02000000000000000000" pitchFamily="50" charset="0"/>
              </a:rPr>
              <a:t>INTERAKTYWNA INSTRUKCJA OBSŁUGI APLIKACJI EOBIEGÓWKA</a:t>
            </a:r>
          </a:p>
        </p:txBody>
      </p:sp>
      <p:sp>
        <p:nvSpPr>
          <p:cNvPr id="10" name="Prostokąt: zaokrąglone rogi 9">
            <a:extLst>
              <a:ext uri="{FF2B5EF4-FFF2-40B4-BE49-F238E27FC236}">
                <a16:creationId xmlns:a16="http://schemas.microsoft.com/office/drawing/2014/main" id="{7ED9EFED-30F4-42FB-CE30-B9E93C5C5D76}"/>
              </a:ext>
            </a:extLst>
          </p:cNvPr>
          <p:cNvSpPr/>
          <p:nvPr/>
        </p:nvSpPr>
        <p:spPr>
          <a:xfrm>
            <a:off x="9288780" y="2742665"/>
            <a:ext cx="2700000" cy="900000"/>
          </a:xfrm>
          <a:prstGeom prst="roundRect">
            <a:avLst/>
          </a:prstGeom>
          <a:noFill/>
          <a:ln w="63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100" dirty="0">
                <a:solidFill>
                  <a:schemeClr val="tx1"/>
                </a:solidFill>
                <a:latin typeface="Athletics Bold" panose="02000000000000000000" pitchFamily="50" charset="0"/>
              </a:rPr>
              <a:t>BOT SPRAWDZAJĄCY POPRAWNOŚĆ REGULACJI KĄTEM ZGODNOŚCI Z AKTUALNĄ STRUKTURĄ ORGANIZACYJNĄ</a:t>
            </a:r>
          </a:p>
        </p:txBody>
      </p:sp>
      <p:sp>
        <p:nvSpPr>
          <p:cNvPr id="11" name="Prostokąt: zaokrąglone rogi 10">
            <a:extLst>
              <a:ext uri="{FF2B5EF4-FFF2-40B4-BE49-F238E27FC236}">
                <a16:creationId xmlns:a16="http://schemas.microsoft.com/office/drawing/2014/main" id="{91F7D511-E003-3CDF-80F3-2E3D4892E787}"/>
              </a:ext>
            </a:extLst>
          </p:cNvPr>
          <p:cNvSpPr/>
          <p:nvPr/>
        </p:nvSpPr>
        <p:spPr>
          <a:xfrm>
            <a:off x="9288780" y="3809640"/>
            <a:ext cx="2700000" cy="900000"/>
          </a:xfrm>
          <a:prstGeom prst="roundRect">
            <a:avLst/>
          </a:prstGeom>
          <a:noFill/>
          <a:ln w="635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200" dirty="0">
                <a:solidFill>
                  <a:schemeClr val="tx1"/>
                </a:solidFill>
                <a:latin typeface="Athletics Bold" panose="02000000000000000000" pitchFamily="50" charset="0"/>
              </a:rPr>
              <a:t>BOT DO PISANIA PROTOKOŁÓW ZGODNIE Z OBOWIĄZUJĄCYM SZABLONEM </a:t>
            </a:r>
          </a:p>
        </p:txBody>
      </p:sp>
      <p:sp>
        <p:nvSpPr>
          <p:cNvPr id="12" name="Prostokąt: zaokrąglone rogi 11">
            <a:extLst>
              <a:ext uri="{FF2B5EF4-FFF2-40B4-BE49-F238E27FC236}">
                <a16:creationId xmlns:a16="http://schemas.microsoft.com/office/drawing/2014/main" id="{00BA6D6D-67A3-D056-5F5C-F9BE6E4E07C6}"/>
              </a:ext>
            </a:extLst>
          </p:cNvPr>
          <p:cNvSpPr/>
          <p:nvPr/>
        </p:nvSpPr>
        <p:spPr>
          <a:xfrm>
            <a:off x="6403980" y="3809640"/>
            <a:ext cx="2700000" cy="900000"/>
          </a:xfrm>
          <a:prstGeom prst="roundRect">
            <a:avLst/>
          </a:prstGeom>
          <a:noFill/>
          <a:ln w="6350" cap="sq">
            <a:solidFill>
              <a:srgbClr val="AFFFD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200" dirty="0">
                <a:solidFill>
                  <a:schemeClr val="tx1"/>
                </a:solidFill>
                <a:latin typeface="Athletics Bold" panose="02000000000000000000" pitchFamily="50" charset="0"/>
              </a:rPr>
              <a:t>BOT WYLICZAJĄCY PROWIZJĘ ZE WCZEŚNIEJSZĄ SPŁATĘ KREDYTU PRZEZ KLIENTA</a:t>
            </a:r>
          </a:p>
        </p:txBody>
      </p:sp>
      <p:sp>
        <p:nvSpPr>
          <p:cNvPr id="15" name="Prostokąt: zaokrąglone rogi 14">
            <a:extLst>
              <a:ext uri="{FF2B5EF4-FFF2-40B4-BE49-F238E27FC236}">
                <a16:creationId xmlns:a16="http://schemas.microsoft.com/office/drawing/2014/main" id="{6D2771C2-3DF4-B1B5-C89F-39FF0562C360}"/>
              </a:ext>
            </a:extLst>
          </p:cNvPr>
          <p:cNvSpPr/>
          <p:nvPr/>
        </p:nvSpPr>
        <p:spPr>
          <a:xfrm>
            <a:off x="6403980" y="4903390"/>
            <a:ext cx="2700000" cy="900000"/>
          </a:xfrm>
          <a:prstGeom prst="roundRect">
            <a:avLst/>
          </a:prstGeom>
          <a:noFill/>
          <a:ln w="63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200" dirty="0">
                <a:solidFill>
                  <a:schemeClr val="tx1"/>
                </a:solidFill>
                <a:latin typeface="Athletics Bold" panose="02000000000000000000" pitchFamily="50" charset="0"/>
              </a:rPr>
              <a:t>BOT HR ODPOWIADAJĄCY NA PYTANIA DOT. BENEFITÓW</a:t>
            </a:r>
          </a:p>
        </p:txBody>
      </p:sp>
      <p:sp>
        <p:nvSpPr>
          <p:cNvPr id="16" name="Prostokąt: zaokrąglone rogi 15">
            <a:extLst>
              <a:ext uri="{FF2B5EF4-FFF2-40B4-BE49-F238E27FC236}">
                <a16:creationId xmlns:a16="http://schemas.microsoft.com/office/drawing/2014/main" id="{6EAC18D5-1A50-1DBA-A5EC-4DCE330381CC}"/>
              </a:ext>
            </a:extLst>
          </p:cNvPr>
          <p:cNvSpPr/>
          <p:nvPr/>
        </p:nvSpPr>
        <p:spPr>
          <a:xfrm>
            <a:off x="9288780" y="4903390"/>
            <a:ext cx="2700000" cy="900000"/>
          </a:xfrm>
          <a:prstGeom prst="roundRect">
            <a:avLst/>
          </a:prstGeom>
          <a:noFill/>
          <a:ln w="635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200" dirty="0">
                <a:solidFill>
                  <a:schemeClr val="tx1"/>
                </a:solidFill>
                <a:latin typeface="Athletics Bold" panose="02000000000000000000" pitchFamily="50" charset="0"/>
              </a:rPr>
              <a:t>EXPERT PYTHONA – POMOC W OBSŁUDZE BŁĘDÓW, POPRAWA EFEKTYWNOŚCI KODU </a:t>
            </a:r>
          </a:p>
        </p:txBody>
      </p:sp>
      <p:sp>
        <p:nvSpPr>
          <p:cNvPr id="19" name="Symbol zastępczy tekstu 1">
            <a:extLst>
              <a:ext uri="{FF2B5EF4-FFF2-40B4-BE49-F238E27FC236}">
                <a16:creationId xmlns:a16="http://schemas.microsoft.com/office/drawing/2014/main" id="{293E9CAC-E07F-0C95-C5C8-7ED14844224A}"/>
              </a:ext>
            </a:extLst>
          </p:cNvPr>
          <p:cNvSpPr txBox="1">
            <a:spLocks/>
          </p:cNvSpPr>
          <p:nvPr/>
        </p:nvSpPr>
        <p:spPr>
          <a:xfrm>
            <a:off x="751262" y="3642665"/>
            <a:ext cx="4901456" cy="195438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800" b="0" i="0" kern="120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  <a:sym typeface="Inter" panose="020B060403050404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/>
            <a:r>
              <a:rPr lang="pl-PL" sz="2800" dirty="0">
                <a:latin typeface="Athletics Bold" panose="02000000000000000000" pitchFamily="50" charset="0"/>
              </a:rPr>
              <a:t>Wzrost liczby botów o 95%</a:t>
            </a:r>
          </a:p>
          <a:p>
            <a:pPr algn="ctr"/>
            <a:endParaRPr lang="pl-PL" sz="2800" dirty="0">
              <a:latin typeface="Athletics Bold" panose="02000000000000000000" pitchFamily="50" charset="0"/>
            </a:endParaRPr>
          </a:p>
          <a:p>
            <a:pPr algn="ctr"/>
            <a:r>
              <a:rPr lang="pl-PL" sz="2800" dirty="0">
                <a:latin typeface="Athletics Bold" panose="02000000000000000000" pitchFamily="50" charset="0"/>
              </a:rPr>
              <a:t>Wzrost liczby użyć </a:t>
            </a:r>
          </a:p>
          <a:p>
            <a:pPr algn="ctr"/>
            <a:r>
              <a:rPr lang="pl-PL" sz="2800" dirty="0" err="1">
                <a:latin typeface="Athletics Bold" panose="02000000000000000000" pitchFamily="50" charset="0"/>
              </a:rPr>
              <a:t>NestStore</a:t>
            </a:r>
            <a:r>
              <a:rPr lang="pl-PL" sz="2800" dirty="0">
                <a:latin typeface="Athletics Bold" panose="02000000000000000000" pitchFamily="50" charset="0"/>
              </a:rPr>
              <a:t> o 400%</a:t>
            </a:r>
          </a:p>
        </p:txBody>
      </p:sp>
      <p:sp>
        <p:nvSpPr>
          <p:cNvPr id="14" name="Prostokąt: zaokrąglone rogi 13">
            <a:extLst>
              <a:ext uri="{FF2B5EF4-FFF2-40B4-BE49-F238E27FC236}">
                <a16:creationId xmlns:a16="http://schemas.microsoft.com/office/drawing/2014/main" id="{5109EBF4-99BD-2D33-80D6-4D4E34D0D87F}"/>
              </a:ext>
            </a:extLst>
          </p:cNvPr>
          <p:cNvSpPr/>
          <p:nvPr/>
        </p:nvSpPr>
        <p:spPr>
          <a:xfrm>
            <a:off x="529621" y="3346789"/>
            <a:ext cx="5344738" cy="2546131"/>
          </a:xfrm>
          <a:prstGeom prst="roundRect">
            <a:avLst/>
          </a:prstGeom>
          <a:noFill/>
          <a:ln w="6350" cap="sq">
            <a:solidFill>
              <a:schemeClr val="accent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pic>
        <p:nvPicPr>
          <p:cNvPr id="13" name="Obraz 12">
            <a:extLst>
              <a:ext uri="{FF2B5EF4-FFF2-40B4-BE49-F238E27FC236}">
                <a16:creationId xmlns:a16="http://schemas.microsoft.com/office/drawing/2014/main" id="{FAAA8AE9-742C-E928-409E-F32F6658CB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461" y="1715252"/>
            <a:ext cx="2244182" cy="1954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337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>
            <a:extLst>
              <a:ext uri="{FF2B5EF4-FFF2-40B4-BE49-F238E27FC236}">
                <a16:creationId xmlns:a16="http://schemas.microsoft.com/office/drawing/2014/main" id="{652625BD-FDA0-70ED-317B-A186E00BA0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13000"/>
            <a:ext cx="12192000" cy="4445000"/>
          </a:xfrm>
          <a:prstGeom prst="rect">
            <a:avLst/>
          </a:prstGeom>
        </p:spPr>
      </p:pic>
      <p:sp>
        <p:nvSpPr>
          <p:cNvPr id="3" name="Tytuł 2">
            <a:extLst>
              <a:ext uri="{FF2B5EF4-FFF2-40B4-BE49-F238E27FC236}">
                <a16:creationId xmlns:a16="http://schemas.microsoft.com/office/drawing/2014/main" id="{44405186-2D24-1B6B-7726-14658C9B0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KOMUNIKACJA I PROMOCJA </a:t>
            </a: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7B4F39A9-3A2F-F666-A565-74DA22A8BC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3707574"/>
            <a:ext cx="5377005" cy="2144586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E4E988D9-4AB9-FDF7-4E79-53A43CD535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1408" y="1919200"/>
            <a:ext cx="4701200" cy="3349328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0B4B52BB-30F7-8045-945B-7E1420D9A3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2680" y="1419217"/>
            <a:ext cx="5343904" cy="2041457"/>
          </a:xfrm>
          <a:prstGeom prst="rect">
            <a:avLst/>
          </a:prstGeom>
        </p:spPr>
      </p:pic>
      <p:sp>
        <p:nvSpPr>
          <p:cNvPr id="14" name="Ramka 13">
            <a:extLst>
              <a:ext uri="{FF2B5EF4-FFF2-40B4-BE49-F238E27FC236}">
                <a16:creationId xmlns:a16="http://schemas.microsoft.com/office/drawing/2014/main" id="{648E0BD4-B367-584E-5652-17B2E1816BF1}"/>
              </a:ext>
            </a:extLst>
          </p:cNvPr>
          <p:cNvSpPr/>
          <p:nvPr/>
        </p:nvSpPr>
        <p:spPr>
          <a:xfrm>
            <a:off x="598360" y="1342937"/>
            <a:ext cx="5167296" cy="4509223"/>
          </a:xfrm>
          <a:prstGeom prst="frame">
            <a:avLst>
              <a:gd name="adj1" fmla="val 0"/>
            </a:avLst>
          </a:prstGeom>
          <a:solidFill>
            <a:schemeClr val="accent1"/>
          </a:solidFill>
          <a:ln w="635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sp>
        <p:nvSpPr>
          <p:cNvPr id="15" name="Ramka 14">
            <a:extLst>
              <a:ext uri="{FF2B5EF4-FFF2-40B4-BE49-F238E27FC236}">
                <a16:creationId xmlns:a16="http://schemas.microsoft.com/office/drawing/2014/main" id="{751739E9-9FBF-4FB7-F150-4491797F1374}"/>
              </a:ext>
            </a:extLst>
          </p:cNvPr>
          <p:cNvSpPr/>
          <p:nvPr/>
        </p:nvSpPr>
        <p:spPr>
          <a:xfrm>
            <a:off x="6062420" y="3634714"/>
            <a:ext cx="5519980" cy="2216037"/>
          </a:xfrm>
          <a:prstGeom prst="frame">
            <a:avLst>
              <a:gd name="adj1" fmla="val 4852"/>
            </a:avLst>
          </a:prstGeom>
          <a:solidFill>
            <a:schemeClr val="accent1"/>
          </a:solidFill>
          <a:ln w="6350" cap="sq">
            <a:solidFill>
              <a:srgbClr val="AFFFD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sp>
        <p:nvSpPr>
          <p:cNvPr id="16" name="Ramka 15">
            <a:extLst>
              <a:ext uri="{FF2B5EF4-FFF2-40B4-BE49-F238E27FC236}">
                <a16:creationId xmlns:a16="http://schemas.microsoft.com/office/drawing/2014/main" id="{0CDF0F87-83EA-7536-E9ED-7C83BFDD2E81}"/>
              </a:ext>
            </a:extLst>
          </p:cNvPr>
          <p:cNvSpPr/>
          <p:nvPr/>
        </p:nvSpPr>
        <p:spPr>
          <a:xfrm>
            <a:off x="6062420" y="1342937"/>
            <a:ext cx="5531220" cy="2216037"/>
          </a:xfrm>
          <a:prstGeom prst="frame">
            <a:avLst>
              <a:gd name="adj1" fmla="val 0"/>
            </a:avLst>
          </a:prstGeom>
          <a:solidFill>
            <a:schemeClr val="accent1"/>
          </a:solidFill>
          <a:ln w="635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sp>
        <p:nvSpPr>
          <p:cNvPr id="2" name="Prostokąt: zaokrąglone rogi 1">
            <a:extLst>
              <a:ext uri="{FF2B5EF4-FFF2-40B4-BE49-F238E27FC236}">
                <a16:creationId xmlns:a16="http://schemas.microsoft.com/office/drawing/2014/main" id="{07DCA10B-C72D-EAF9-5600-0E15F569FB99}"/>
              </a:ext>
            </a:extLst>
          </p:cNvPr>
          <p:cNvSpPr/>
          <p:nvPr/>
        </p:nvSpPr>
        <p:spPr>
          <a:xfrm>
            <a:off x="8053591" y="5666418"/>
            <a:ext cx="1850473" cy="346842"/>
          </a:xfrm>
          <a:prstGeom prst="roundRect">
            <a:avLst/>
          </a:prstGeom>
          <a:solidFill>
            <a:srgbClr val="AFFFD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600" b="1" dirty="0">
                <a:solidFill>
                  <a:schemeClr val="accent1"/>
                </a:solidFill>
                <a:latin typeface="Athletics Bold" panose="02000000000000000000" pitchFamily="50" charset="0"/>
              </a:rPr>
              <a:t>STREFA AI </a:t>
            </a:r>
          </a:p>
        </p:txBody>
      </p:sp>
      <p:sp>
        <p:nvSpPr>
          <p:cNvPr id="5" name="Prostokąt: zaokrąglone rogi 4">
            <a:extLst>
              <a:ext uri="{FF2B5EF4-FFF2-40B4-BE49-F238E27FC236}">
                <a16:creationId xmlns:a16="http://schemas.microsoft.com/office/drawing/2014/main" id="{A68A3302-A68D-B0D7-6F6E-C58BDC7982CC}"/>
              </a:ext>
            </a:extLst>
          </p:cNvPr>
          <p:cNvSpPr/>
          <p:nvPr/>
        </p:nvSpPr>
        <p:spPr>
          <a:xfrm>
            <a:off x="2588930" y="5623713"/>
            <a:ext cx="2788074" cy="375716"/>
          </a:xfrm>
          <a:prstGeom prst="roundRect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600" b="1" dirty="0">
                <a:solidFill>
                  <a:schemeClr val="accent1"/>
                </a:solidFill>
                <a:latin typeface="Athletics Bold" panose="02000000000000000000" pitchFamily="50" charset="0"/>
              </a:rPr>
              <a:t>SZKOLENIA W STREFIE AI</a:t>
            </a:r>
          </a:p>
        </p:txBody>
      </p:sp>
      <p:sp>
        <p:nvSpPr>
          <p:cNvPr id="6" name="Prostokąt: zaokrąglone rogi 5">
            <a:extLst>
              <a:ext uri="{FF2B5EF4-FFF2-40B4-BE49-F238E27FC236}">
                <a16:creationId xmlns:a16="http://schemas.microsoft.com/office/drawing/2014/main" id="{4455A1CE-21A4-49C7-48EF-8EB403A3E03F}"/>
              </a:ext>
            </a:extLst>
          </p:cNvPr>
          <p:cNvSpPr/>
          <p:nvPr/>
        </p:nvSpPr>
        <p:spPr>
          <a:xfrm>
            <a:off x="7812911" y="1234443"/>
            <a:ext cx="3510871" cy="339241"/>
          </a:xfrm>
          <a:prstGeom prst="roundRect">
            <a:avLst/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600" b="1" dirty="0">
                <a:solidFill>
                  <a:schemeClr val="accent1"/>
                </a:solidFill>
                <a:latin typeface="Athletics Bold" panose="02000000000000000000" pitchFamily="50" charset="0"/>
              </a:rPr>
              <a:t>MAILING DO PRACOWNIKÓW</a:t>
            </a:r>
          </a:p>
        </p:txBody>
      </p:sp>
    </p:spTree>
    <p:extLst>
      <p:ext uri="{BB962C8B-B14F-4D97-AF65-F5344CB8AC3E}">
        <p14:creationId xmlns:p14="http://schemas.microsoft.com/office/powerpoint/2010/main" val="27007442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Obraz 16">
            <a:extLst>
              <a:ext uri="{FF2B5EF4-FFF2-40B4-BE49-F238E27FC236}">
                <a16:creationId xmlns:a16="http://schemas.microsoft.com/office/drawing/2014/main" id="{12438687-B899-4B5A-56E4-7D02B6993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13000"/>
            <a:ext cx="12192000" cy="4445000"/>
          </a:xfrm>
          <a:prstGeom prst="rect">
            <a:avLst/>
          </a:prstGeom>
        </p:spPr>
      </p:pic>
      <p:sp>
        <p:nvSpPr>
          <p:cNvPr id="3" name="Tytuł 2">
            <a:extLst>
              <a:ext uri="{FF2B5EF4-FFF2-40B4-BE49-F238E27FC236}">
                <a16:creationId xmlns:a16="http://schemas.microsoft.com/office/drawing/2014/main" id="{0DD951EB-7D75-75F4-F200-63A92F2BD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REZULTATY</a:t>
            </a:r>
          </a:p>
        </p:txBody>
      </p:sp>
      <p:sp>
        <p:nvSpPr>
          <p:cNvPr id="5" name="Prostokąt: zaokrąglone rogi 4">
            <a:extLst>
              <a:ext uri="{FF2B5EF4-FFF2-40B4-BE49-F238E27FC236}">
                <a16:creationId xmlns:a16="http://schemas.microsoft.com/office/drawing/2014/main" id="{C271D4CD-F4B4-823B-E0E7-9C29EDCC75EB}"/>
              </a:ext>
            </a:extLst>
          </p:cNvPr>
          <p:cNvSpPr/>
          <p:nvPr/>
        </p:nvSpPr>
        <p:spPr>
          <a:xfrm>
            <a:off x="541459" y="1461929"/>
            <a:ext cx="3300247" cy="4506767"/>
          </a:xfrm>
          <a:prstGeom prst="roundRect">
            <a:avLst/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  <a:latin typeface="Athletics Bold" panose="02000000000000000000" pitchFamily="50" charset="0"/>
            </a:endParaRP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EDBC1190-4ADE-6BF9-6DFC-8DFC1C728EC3}"/>
              </a:ext>
            </a:extLst>
          </p:cNvPr>
          <p:cNvSpPr txBox="1"/>
          <p:nvPr/>
        </p:nvSpPr>
        <p:spPr>
          <a:xfrm>
            <a:off x="1368156" y="1936705"/>
            <a:ext cx="1412009" cy="104052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pl-PL" sz="1600" dirty="0"/>
          </a:p>
        </p:txBody>
      </p:sp>
      <p:sp>
        <p:nvSpPr>
          <p:cNvPr id="7" name="Prostokąt: zaokrąglone rogi 6">
            <a:extLst>
              <a:ext uri="{FF2B5EF4-FFF2-40B4-BE49-F238E27FC236}">
                <a16:creationId xmlns:a16="http://schemas.microsoft.com/office/drawing/2014/main" id="{A923DACB-AADC-F017-FD23-3A67AEF8EB50}"/>
              </a:ext>
            </a:extLst>
          </p:cNvPr>
          <p:cNvSpPr/>
          <p:nvPr/>
        </p:nvSpPr>
        <p:spPr>
          <a:xfrm>
            <a:off x="930166" y="4436670"/>
            <a:ext cx="1895306" cy="772510"/>
          </a:xfrm>
          <a:prstGeom prst="roundRect">
            <a:avLst/>
          </a:prstGeom>
          <a:solidFill>
            <a:srgbClr val="AFFFD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2400" dirty="0">
                <a:solidFill>
                  <a:schemeClr val="bg1"/>
                </a:solidFill>
                <a:latin typeface="Athletics Bold" panose="02000000000000000000" pitchFamily="50" charset="0"/>
              </a:rPr>
              <a:t>+25 % </a:t>
            </a:r>
          </a:p>
        </p:txBody>
      </p:sp>
      <p:sp>
        <p:nvSpPr>
          <p:cNvPr id="8" name="Prostokąt: zaokrąglone rogi 7">
            <a:extLst>
              <a:ext uri="{FF2B5EF4-FFF2-40B4-BE49-F238E27FC236}">
                <a16:creationId xmlns:a16="http://schemas.microsoft.com/office/drawing/2014/main" id="{AFFB78B4-AA1A-61EC-4171-EBAF72430CBE}"/>
              </a:ext>
            </a:extLst>
          </p:cNvPr>
          <p:cNvSpPr/>
          <p:nvPr/>
        </p:nvSpPr>
        <p:spPr>
          <a:xfrm>
            <a:off x="4032528" y="1454046"/>
            <a:ext cx="3300247" cy="4506767"/>
          </a:xfrm>
          <a:prstGeom prst="roundRect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>
              <a:solidFill>
                <a:schemeClr val="accent3"/>
              </a:solidFill>
              <a:latin typeface="Athletics Bold" panose="02000000000000000000" pitchFamily="50" charset="0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accent3"/>
              </a:solidFill>
              <a:latin typeface="Athletics Bold" panose="02000000000000000000" pitchFamily="50" charset="0"/>
            </a:endParaRPr>
          </a:p>
        </p:txBody>
      </p:sp>
      <p:sp>
        <p:nvSpPr>
          <p:cNvPr id="9" name="Prostokąt: zaokrąglone rogi 8">
            <a:extLst>
              <a:ext uri="{FF2B5EF4-FFF2-40B4-BE49-F238E27FC236}">
                <a16:creationId xmlns:a16="http://schemas.microsoft.com/office/drawing/2014/main" id="{7CF24CC6-6E34-AA9B-9C63-D832CADC60B8}"/>
              </a:ext>
            </a:extLst>
          </p:cNvPr>
          <p:cNvSpPr/>
          <p:nvPr/>
        </p:nvSpPr>
        <p:spPr>
          <a:xfrm>
            <a:off x="7523597" y="1461929"/>
            <a:ext cx="4297163" cy="2165512"/>
          </a:xfrm>
          <a:prstGeom prst="roundRect">
            <a:avLst/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>
              <a:solidFill>
                <a:schemeClr val="tx1"/>
              </a:solidFill>
              <a:latin typeface="+mj-lt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  <a:latin typeface="Athletics Bold" panose="02000000000000000000" pitchFamily="50" charset="0"/>
            </a:endParaRP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DFFDB2AD-7D14-BDE1-6033-5DFF5BB7FA89}"/>
              </a:ext>
            </a:extLst>
          </p:cNvPr>
          <p:cNvSpPr txBox="1"/>
          <p:nvPr/>
        </p:nvSpPr>
        <p:spPr>
          <a:xfrm>
            <a:off x="930166" y="1936705"/>
            <a:ext cx="2459420" cy="48577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pl-PL" sz="2000" dirty="0">
                <a:solidFill>
                  <a:schemeClr val="bg1"/>
                </a:solidFill>
                <a:latin typeface="Athletics Bold" panose="02000000000000000000" pitchFamily="50" charset="0"/>
              </a:rPr>
              <a:t>Średnia miesięczna liczba zapytań kierowanych do Puchacza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pl-PL" sz="1600" dirty="0"/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pl-PL" sz="1600" dirty="0"/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pl-PL" sz="1600" dirty="0"/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EEA578DD-E436-5CC1-6A50-ABBC41234F00}"/>
              </a:ext>
            </a:extLst>
          </p:cNvPr>
          <p:cNvSpPr txBox="1"/>
          <p:nvPr/>
        </p:nvSpPr>
        <p:spPr>
          <a:xfrm>
            <a:off x="4472275" y="1936704"/>
            <a:ext cx="2459420" cy="10405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pl-PL" sz="2000" dirty="0">
                <a:solidFill>
                  <a:schemeClr val="bg1"/>
                </a:solidFill>
                <a:latin typeface="Athletics Bold" panose="02000000000000000000" pitchFamily="50" charset="0"/>
              </a:rPr>
              <a:t>Liczba Botów stworzonych przez pracowników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pl-PL" sz="1600" dirty="0"/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E2EADE1C-E817-F9DC-FC84-36472BE9697A}"/>
              </a:ext>
            </a:extLst>
          </p:cNvPr>
          <p:cNvSpPr txBox="1"/>
          <p:nvPr/>
        </p:nvSpPr>
        <p:spPr>
          <a:xfrm>
            <a:off x="930166" y="3379815"/>
            <a:ext cx="2459420" cy="48577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l-PL" sz="5400" b="1" dirty="0">
                <a:solidFill>
                  <a:schemeClr val="bg1"/>
                </a:solidFill>
                <a:latin typeface="Athletics Bold" panose="02000000000000000000" pitchFamily="50" charset="0"/>
              </a:rPr>
              <a:t>25 000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pl-PL" sz="1600" dirty="0"/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C3B9100A-754A-421F-F742-04B4D7230923}"/>
              </a:ext>
            </a:extLst>
          </p:cNvPr>
          <p:cNvSpPr txBox="1"/>
          <p:nvPr/>
        </p:nvSpPr>
        <p:spPr>
          <a:xfrm>
            <a:off x="4452941" y="3250651"/>
            <a:ext cx="2459420" cy="48577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l-PL" sz="5400" b="1" dirty="0">
                <a:solidFill>
                  <a:schemeClr val="bg1"/>
                </a:solidFill>
                <a:latin typeface="Athletics Bold" panose="02000000000000000000" pitchFamily="50" charset="0"/>
              </a:rPr>
              <a:t>500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pl-PL" sz="1600" dirty="0">
              <a:solidFill>
                <a:schemeClr val="bg1"/>
              </a:solidFill>
            </a:endParaRP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10BD9999-6ADB-DC16-5D14-843CDB480F1D}"/>
              </a:ext>
            </a:extLst>
          </p:cNvPr>
          <p:cNvSpPr txBox="1"/>
          <p:nvPr/>
        </p:nvSpPr>
        <p:spPr>
          <a:xfrm>
            <a:off x="9255383" y="1805920"/>
            <a:ext cx="2455116" cy="181678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pl-PL" dirty="0">
                <a:solidFill>
                  <a:schemeClr val="bg1"/>
                </a:solidFill>
                <a:latin typeface="Athletics Bold" panose="02000000000000000000" pitchFamily="50" charset="0"/>
              </a:rPr>
              <a:t>pracowników uważa, iż rozwiązania oparte na technologii cyfrowej i AI wspierają ich codzienną pracę</a:t>
            </a:r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endParaRPr lang="pl-PL" sz="1400" dirty="0">
              <a:solidFill>
                <a:schemeClr val="bg1"/>
              </a:solidFill>
            </a:endParaRPr>
          </a:p>
        </p:txBody>
      </p:sp>
      <p:sp>
        <p:nvSpPr>
          <p:cNvPr id="18" name="Prostokąt: zaokrąglone rogi 17">
            <a:extLst>
              <a:ext uri="{FF2B5EF4-FFF2-40B4-BE49-F238E27FC236}">
                <a16:creationId xmlns:a16="http://schemas.microsoft.com/office/drawing/2014/main" id="{D40740EF-470C-803F-01C8-C57FD0B5A4D1}"/>
              </a:ext>
            </a:extLst>
          </p:cNvPr>
          <p:cNvSpPr/>
          <p:nvPr/>
        </p:nvSpPr>
        <p:spPr>
          <a:xfrm>
            <a:off x="7523597" y="3803184"/>
            <a:ext cx="4297163" cy="2165512"/>
          </a:xfrm>
          <a:prstGeom prst="roundRect">
            <a:avLst/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>
              <a:solidFill>
                <a:schemeClr val="tx1"/>
              </a:solidFill>
              <a:latin typeface="+mj-lt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  <a:latin typeface="Athletics Bold" panose="02000000000000000000" pitchFamily="50" charset="0"/>
            </a:endParaRPr>
          </a:p>
        </p:txBody>
      </p:sp>
      <p:sp>
        <p:nvSpPr>
          <p:cNvPr id="19" name="pole tekstowe 18">
            <a:extLst>
              <a:ext uri="{FF2B5EF4-FFF2-40B4-BE49-F238E27FC236}">
                <a16:creationId xmlns:a16="http://schemas.microsoft.com/office/drawing/2014/main" id="{DFE03D25-57CE-3892-09B3-9A13856984BD}"/>
              </a:ext>
            </a:extLst>
          </p:cNvPr>
          <p:cNvSpPr txBox="1"/>
          <p:nvPr/>
        </p:nvSpPr>
        <p:spPr>
          <a:xfrm>
            <a:off x="7693498" y="1982618"/>
            <a:ext cx="1451624" cy="11689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pl-PL" sz="6000" b="1" dirty="0">
                <a:solidFill>
                  <a:schemeClr val="bg1"/>
                </a:solidFill>
                <a:latin typeface="Athletics Bold" panose="02000000000000000000" pitchFamily="50" charset="0"/>
              </a:rPr>
              <a:t>74%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pl-PL" sz="1600" dirty="0">
              <a:solidFill>
                <a:schemeClr val="bg1"/>
              </a:solidFill>
            </a:endParaRPr>
          </a:p>
        </p:txBody>
      </p:sp>
      <p:sp>
        <p:nvSpPr>
          <p:cNvPr id="20" name="pole tekstowe 19">
            <a:extLst>
              <a:ext uri="{FF2B5EF4-FFF2-40B4-BE49-F238E27FC236}">
                <a16:creationId xmlns:a16="http://schemas.microsoft.com/office/drawing/2014/main" id="{0E45D3D4-F874-BA9B-4BB4-E74EB2E74FBB}"/>
              </a:ext>
            </a:extLst>
          </p:cNvPr>
          <p:cNvSpPr txBox="1"/>
          <p:nvPr/>
        </p:nvSpPr>
        <p:spPr>
          <a:xfrm>
            <a:off x="9315023" y="4026654"/>
            <a:ext cx="2455116" cy="181678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pl-PL" dirty="0">
                <a:solidFill>
                  <a:schemeClr val="bg1"/>
                </a:solidFill>
                <a:latin typeface="Athletics Bold" panose="02000000000000000000" pitchFamily="50" charset="0"/>
              </a:rPr>
              <a:t>pracowników dostrzega dalszy potencjał do automatyzacji procesów i wdrażania narzędzi AI</a:t>
            </a:r>
            <a:endParaRPr lang="pl-PL" sz="1400" dirty="0">
              <a:solidFill>
                <a:schemeClr val="bg1"/>
              </a:solidFill>
              <a:latin typeface="Athletics Bold" panose="02000000000000000000" pitchFamily="50" charset="0"/>
            </a:endParaRPr>
          </a:p>
        </p:txBody>
      </p: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86B1C2EE-9D6C-F443-EA86-A0FC42F56990}"/>
              </a:ext>
            </a:extLst>
          </p:cNvPr>
          <p:cNvSpPr txBox="1"/>
          <p:nvPr/>
        </p:nvSpPr>
        <p:spPr>
          <a:xfrm>
            <a:off x="7693498" y="4296765"/>
            <a:ext cx="1451624" cy="11689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pl-PL" sz="6000" b="1" dirty="0">
                <a:solidFill>
                  <a:schemeClr val="bg1"/>
                </a:solidFill>
                <a:latin typeface="Athletics Bold" panose="02000000000000000000" pitchFamily="50" charset="0"/>
              </a:rPr>
              <a:t>72%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pl-PL" sz="1600" dirty="0">
              <a:solidFill>
                <a:schemeClr val="bg1"/>
              </a:solidFill>
            </a:endParaRPr>
          </a:p>
        </p:txBody>
      </p:sp>
      <p:sp>
        <p:nvSpPr>
          <p:cNvPr id="2" name="Prostokąt: zaokrąglone rogi 1">
            <a:extLst>
              <a:ext uri="{FF2B5EF4-FFF2-40B4-BE49-F238E27FC236}">
                <a16:creationId xmlns:a16="http://schemas.microsoft.com/office/drawing/2014/main" id="{9F364801-537A-8E08-BA9A-6D172B6D0550}"/>
              </a:ext>
            </a:extLst>
          </p:cNvPr>
          <p:cNvSpPr/>
          <p:nvPr/>
        </p:nvSpPr>
        <p:spPr>
          <a:xfrm>
            <a:off x="4376012" y="4436670"/>
            <a:ext cx="1895306" cy="772510"/>
          </a:xfrm>
          <a:prstGeom prst="roundRect">
            <a:avLst/>
          </a:prstGeom>
          <a:solidFill>
            <a:srgbClr val="AFFFD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2400" dirty="0">
                <a:solidFill>
                  <a:schemeClr val="bg1"/>
                </a:solidFill>
                <a:latin typeface="Athletics Bold" panose="02000000000000000000" pitchFamily="50" charset="0"/>
              </a:rPr>
              <a:t>+267%</a:t>
            </a:r>
          </a:p>
        </p:txBody>
      </p:sp>
    </p:spTree>
    <p:extLst>
      <p:ext uri="{BB962C8B-B14F-4D97-AF65-F5344CB8AC3E}">
        <p14:creationId xmlns:p14="http://schemas.microsoft.com/office/powerpoint/2010/main" val="12290335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5A0C3EE9-55DB-F39A-7FC9-49EAAC6F47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25" y="2472377"/>
            <a:ext cx="12192000" cy="4445000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EF798972-C5B5-FDAC-2988-385E1FF6776C}"/>
              </a:ext>
            </a:extLst>
          </p:cNvPr>
          <p:cNvSpPr txBox="1"/>
          <p:nvPr/>
        </p:nvSpPr>
        <p:spPr>
          <a:xfrm>
            <a:off x="6124025" y="5368785"/>
            <a:ext cx="3433449" cy="83099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pl-PL" sz="2400" b="1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Spójny i bezpieczny ekosystem AI</a:t>
            </a:r>
            <a:endParaRPr lang="pl-PL" sz="2400" dirty="0">
              <a:latin typeface="Athletics Bold" panose="02000000000000000000" pitchFamily="50" charset="0"/>
            </a:endParaRP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85BEE088-2448-851E-B20F-40BF46EC0F84}"/>
              </a:ext>
            </a:extLst>
          </p:cNvPr>
          <p:cNvSpPr txBox="1"/>
          <p:nvPr/>
        </p:nvSpPr>
        <p:spPr>
          <a:xfrm>
            <a:off x="6124025" y="1870655"/>
            <a:ext cx="5862639" cy="83099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pl-PL" sz="2400" b="1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Odciążenie pracowników z powtarzalnych i czasochłonnych zadań</a:t>
            </a:r>
            <a:endParaRPr lang="pl-PL" sz="2400" dirty="0">
              <a:latin typeface="Athletics Bold" panose="02000000000000000000" pitchFamily="50" charset="0"/>
            </a:endParaRP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B2D13E47-31BB-F415-1589-666996289E53}"/>
              </a:ext>
            </a:extLst>
          </p:cNvPr>
          <p:cNvSpPr txBox="1"/>
          <p:nvPr/>
        </p:nvSpPr>
        <p:spPr>
          <a:xfrm>
            <a:off x="6096000" y="4024826"/>
            <a:ext cx="4129089" cy="110799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rtl="0" fontAlgn="base"/>
            <a:endParaRPr lang="pl-PL" sz="1800" b="1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base"/>
            <a:r>
              <a:rPr lang="pl-PL" sz="2400" b="1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Oddolne tworzenie technologii </a:t>
            </a:r>
            <a:endParaRPr lang="pl-PL" sz="2400" dirty="0">
              <a:latin typeface="Athletics Bold" panose="02000000000000000000" pitchFamily="50" charset="0"/>
            </a:endParaRP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8EFB70BF-3CC2-320A-F73C-5DE122548960}"/>
              </a:ext>
            </a:extLst>
          </p:cNvPr>
          <p:cNvSpPr txBox="1"/>
          <p:nvPr/>
        </p:nvSpPr>
        <p:spPr>
          <a:xfrm>
            <a:off x="6124025" y="2931865"/>
            <a:ext cx="4643989" cy="4616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rtl="0" fontAlgn="base"/>
            <a:r>
              <a:rPr lang="pl-PL" sz="2400" b="1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Rozwój kompetencji cyfrowych </a:t>
            </a:r>
            <a:endParaRPr lang="pl-PL" sz="2400" dirty="0">
              <a:latin typeface="Athletics Bold" panose="02000000000000000000" pitchFamily="50" charset="0"/>
            </a:endParaRPr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F6FB8BDD-320F-8900-DC29-3ECE35A67995}"/>
              </a:ext>
            </a:extLst>
          </p:cNvPr>
          <p:cNvSpPr txBox="1"/>
          <p:nvPr/>
        </p:nvSpPr>
        <p:spPr>
          <a:xfrm>
            <a:off x="6124025" y="3377255"/>
            <a:ext cx="5947736" cy="73866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rtl="0" fontAlgn="base"/>
            <a:endParaRPr lang="pl-PL" sz="1800" b="1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base"/>
            <a:r>
              <a:rPr lang="pl-PL" sz="2400" b="1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Wzrost kreatywności </a:t>
            </a:r>
            <a:endParaRPr lang="pl-PL" sz="2400" dirty="0">
              <a:latin typeface="Athletics Bold" panose="02000000000000000000" pitchFamily="50" charset="0"/>
            </a:endParaRPr>
          </a:p>
        </p:txBody>
      </p:sp>
      <p:pic>
        <p:nvPicPr>
          <p:cNvPr id="20" name="Obraz 19">
            <a:extLst>
              <a:ext uri="{FF2B5EF4-FFF2-40B4-BE49-F238E27FC236}">
                <a16:creationId xmlns:a16="http://schemas.microsoft.com/office/drawing/2014/main" id="{70216B31-FE4A-AA18-D34B-94463DC422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57474" y="4546986"/>
            <a:ext cx="2381250" cy="2381250"/>
          </a:xfrm>
          <a:prstGeom prst="rect">
            <a:avLst/>
          </a:prstGeom>
        </p:spPr>
      </p:pic>
      <p:sp>
        <p:nvSpPr>
          <p:cNvPr id="21" name="Prostokąt: zaokrąglone rogi 20">
            <a:extLst>
              <a:ext uri="{FF2B5EF4-FFF2-40B4-BE49-F238E27FC236}">
                <a16:creationId xmlns:a16="http://schemas.microsoft.com/office/drawing/2014/main" id="{F54B0019-E20E-1C97-92E1-F71FD642F033}"/>
              </a:ext>
            </a:extLst>
          </p:cNvPr>
          <p:cNvSpPr/>
          <p:nvPr/>
        </p:nvSpPr>
        <p:spPr>
          <a:xfrm>
            <a:off x="1171326" y="1248403"/>
            <a:ext cx="4129089" cy="4951379"/>
          </a:xfrm>
          <a:prstGeom prst="roundRect">
            <a:avLst/>
          </a:prstGeom>
          <a:noFill/>
          <a:ln w="6350" cap="sq">
            <a:solidFill>
              <a:schemeClr val="accent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pic>
        <p:nvPicPr>
          <p:cNvPr id="23" name="Obraz 22">
            <a:extLst>
              <a:ext uri="{FF2B5EF4-FFF2-40B4-BE49-F238E27FC236}">
                <a16:creationId xmlns:a16="http://schemas.microsoft.com/office/drawing/2014/main" id="{AED61F71-CC6E-CA91-5CB0-04BD7B1451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59595" y="4327547"/>
            <a:ext cx="1352550" cy="904875"/>
          </a:xfrm>
          <a:prstGeom prst="rect">
            <a:avLst/>
          </a:prstGeom>
        </p:spPr>
      </p:pic>
      <p:sp>
        <p:nvSpPr>
          <p:cNvPr id="25" name="pole tekstowe 24">
            <a:extLst>
              <a:ext uri="{FF2B5EF4-FFF2-40B4-BE49-F238E27FC236}">
                <a16:creationId xmlns:a16="http://schemas.microsoft.com/office/drawing/2014/main" id="{FF306A2F-185B-636F-7FA7-4A646424180F}"/>
              </a:ext>
            </a:extLst>
          </p:cNvPr>
          <p:cNvSpPr txBox="1"/>
          <p:nvPr/>
        </p:nvSpPr>
        <p:spPr>
          <a:xfrm>
            <a:off x="1786663" y="2286153"/>
            <a:ext cx="2898414" cy="120032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pl-PL" sz="3600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KULTURA INNOWACJI </a:t>
            </a:r>
            <a:endParaRPr lang="pl-PL" sz="3600" dirty="0">
              <a:latin typeface="Athletics Bold" panose="02000000000000000000" pitchFamily="50" charset="0"/>
            </a:endParaRPr>
          </a:p>
        </p:txBody>
      </p:sp>
      <p:sp>
        <p:nvSpPr>
          <p:cNvPr id="2" name="Tytuł 2">
            <a:extLst>
              <a:ext uri="{FF2B5EF4-FFF2-40B4-BE49-F238E27FC236}">
                <a16:creationId xmlns:a16="http://schemas.microsoft.com/office/drawing/2014/main" id="{C0026E6E-56EC-9076-3A99-81EFECE27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2630" y="435864"/>
            <a:ext cx="9778130" cy="485775"/>
          </a:xfrm>
        </p:spPr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TU I TERAZ</a:t>
            </a: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20DD2ACC-E0CC-E79B-F591-0682ED71DAC7}"/>
              </a:ext>
            </a:extLst>
          </p:cNvPr>
          <p:cNvSpPr txBox="1"/>
          <p:nvPr/>
        </p:nvSpPr>
        <p:spPr>
          <a:xfrm>
            <a:off x="6124025" y="1258382"/>
            <a:ext cx="5696735" cy="4616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pl-PL" sz="2400" b="1" i="0" kern="1200" dirty="0"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Pracownicy chętnie korzystający z AI</a:t>
            </a:r>
            <a:endParaRPr lang="pl-PL" sz="2400" dirty="0">
              <a:latin typeface="Athletics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33205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az 10">
            <a:extLst>
              <a:ext uri="{FF2B5EF4-FFF2-40B4-BE49-F238E27FC236}">
                <a16:creationId xmlns:a16="http://schemas.microsoft.com/office/drawing/2014/main" id="{78C08CEC-65B9-99F4-8E19-465B4A9596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13000"/>
            <a:ext cx="12192000" cy="4445000"/>
          </a:xfrm>
          <a:prstGeom prst="rect">
            <a:avLst/>
          </a:prstGeom>
        </p:spPr>
      </p:pic>
      <p:sp>
        <p:nvSpPr>
          <p:cNvPr id="12" name="Tytuł 2">
            <a:extLst>
              <a:ext uri="{FF2B5EF4-FFF2-40B4-BE49-F238E27FC236}">
                <a16:creationId xmlns:a16="http://schemas.microsoft.com/office/drawing/2014/main" id="{9F226132-9992-F475-1463-901DCF47C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2630" y="435864"/>
            <a:ext cx="9778130" cy="485775"/>
          </a:xfrm>
        </p:spPr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CO  DALEJ?</a:t>
            </a:r>
          </a:p>
        </p:txBody>
      </p:sp>
      <p:sp>
        <p:nvSpPr>
          <p:cNvPr id="15" name="Prostokąt: zaokrąglone rogi 14">
            <a:extLst>
              <a:ext uri="{FF2B5EF4-FFF2-40B4-BE49-F238E27FC236}">
                <a16:creationId xmlns:a16="http://schemas.microsoft.com/office/drawing/2014/main" id="{EEE686D5-3E14-F8E9-8905-23A42B403F60}"/>
              </a:ext>
            </a:extLst>
          </p:cNvPr>
          <p:cNvSpPr/>
          <p:nvPr/>
        </p:nvSpPr>
        <p:spPr>
          <a:xfrm>
            <a:off x="6537438" y="1820165"/>
            <a:ext cx="3520967" cy="698500"/>
          </a:xfrm>
          <a:prstGeom prst="roundRect">
            <a:avLst/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600" b="1" dirty="0">
                <a:solidFill>
                  <a:schemeClr val="bg1"/>
                </a:solidFill>
                <a:latin typeface="Athletics Bold" panose="02000000000000000000" pitchFamily="50" charset="0"/>
              </a:rPr>
              <a:t>ROZWÓJ PRACOWNIKÓW</a:t>
            </a:r>
          </a:p>
        </p:txBody>
      </p:sp>
      <p:sp>
        <p:nvSpPr>
          <p:cNvPr id="16" name="Prostokąt: zaokrąglone rogi 15">
            <a:extLst>
              <a:ext uri="{FF2B5EF4-FFF2-40B4-BE49-F238E27FC236}">
                <a16:creationId xmlns:a16="http://schemas.microsoft.com/office/drawing/2014/main" id="{44F81531-057A-008F-3064-E24F41929CB3}"/>
              </a:ext>
            </a:extLst>
          </p:cNvPr>
          <p:cNvSpPr/>
          <p:nvPr/>
        </p:nvSpPr>
        <p:spPr>
          <a:xfrm>
            <a:off x="6537437" y="2765426"/>
            <a:ext cx="3520967" cy="698500"/>
          </a:xfrm>
          <a:prstGeom prst="roundRect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600" b="1" dirty="0">
                <a:solidFill>
                  <a:schemeClr val="bg1"/>
                </a:solidFill>
                <a:latin typeface="Athletics Bold" panose="02000000000000000000" pitchFamily="50" charset="0"/>
              </a:rPr>
              <a:t>SKALOWANIE  </a:t>
            </a:r>
          </a:p>
        </p:txBody>
      </p:sp>
      <p:sp>
        <p:nvSpPr>
          <p:cNvPr id="17" name="Prostokąt: zaokrąglone rogi 16">
            <a:extLst>
              <a:ext uri="{FF2B5EF4-FFF2-40B4-BE49-F238E27FC236}">
                <a16:creationId xmlns:a16="http://schemas.microsoft.com/office/drawing/2014/main" id="{63C4ADCD-9A1C-E727-73DF-DBA9CE57FB70}"/>
              </a:ext>
            </a:extLst>
          </p:cNvPr>
          <p:cNvSpPr/>
          <p:nvPr/>
        </p:nvSpPr>
        <p:spPr>
          <a:xfrm>
            <a:off x="6537437" y="3712465"/>
            <a:ext cx="3520967" cy="698500"/>
          </a:xfrm>
          <a:prstGeom prst="roundRect">
            <a:avLst/>
          </a:prstGeom>
          <a:solidFill>
            <a:srgbClr val="AFFFD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600" b="1" dirty="0">
                <a:solidFill>
                  <a:schemeClr val="bg1"/>
                </a:solidFill>
                <a:latin typeface="Athletics Bold" panose="02000000000000000000" pitchFamily="50" charset="0"/>
              </a:rPr>
              <a:t>NOWE NARZĘDZIA</a:t>
            </a:r>
          </a:p>
        </p:txBody>
      </p:sp>
      <p:sp>
        <p:nvSpPr>
          <p:cNvPr id="18" name="Prostokąt: zaokrąglone rogi 17">
            <a:extLst>
              <a:ext uri="{FF2B5EF4-FFF2-40B4-BE49-F238E27FC236}">
                <a16:creationId xmlns:a16="http://schemas.microsoft.com/office/drawing/2014/main" id="{B5436739-6CD2-1330-17C3-98F25D06D5C9}"/>
              </a:ext>
            </a:extLst>
          </p:cNvPr>
          <p:cNvSpPr/>
          <p:nvPr/>
        </p:nvSpPr>
        <p:spPr>
          <a:xfrm>
            <a:off x="6537437" y="4639565"/>
            <a:ext cx="3520967" cy="698500"/>
          </a:xfrm>
          <a:prstGeom prst="roundRect">
            <a:avLst/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600" b="1" dirty="0">
                <a:solidFill>
                  <a:schemeClr val="bg1"/>
                </a:solidFill>
                <a:latin typeface="Athletics Bold" panose="02000000000000000000" pitchFamily="50" charset="0"/>
              </a:rPr>
              <a:t>BUDOWANIE PRZEWAGI KONKURENCYJNEJ </a:t>
            </a:r>
          </a:p>
        </p:txBody>
      </p:sp>
      <p:pic>
        <p:nvPicPr>
          <p:cNvPr id="24" name="Obraz 23">
            <a:extLst>
              <a:ext uri="{FF2B5EF4-FFF2-40B4-BE49-F238E27FC236}">
                <a16:creationId xmlns:a16="http://schemas.microsoft.com/office/drawing/2014/main" id="{448D1EA3-E9E7-5819-B279-5B084ED965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7865" y="1661415"/>
            <a:ext cx="40767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8992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616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 descr="Obraz zawierający czarne, ciemność, rozmycie&#10;&#10;Opis wygenerowany automatycznie">
            <a:extLst>
              <a:ext uri="{FF2B5EF4-FFF2-40B4-BE49-F238E27FC236}">
                <a16:creationId xmlns:a16="http://schemas.microsoft.com/office/drawing/2014/main" id="{D11EDFB1-189F-E78C-A9F6-55A943BE33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845"/>
            <a:ext cx="12192000" cy="6861201"/>
          </a:xfrm>
          <a:prstGeom prst="rect">
            <a:avLst/>
          </a:prstGeom>
        </p:spPr>
      </p:pic>
      <p:pic>
        <p:nvPicPr>
          <p:cNvPr id="5" name="Obraz 4" descr="Obraz zawierający Telefon komórkowy, tekst, gadżet, Przenośne urządzenie do komunikacji&#10;&#10;Opis wygenerowany automatycznie">
            <a:extLst>
              <a:ext uri="{FF2B5EF4-FFF2-40B4-BE49-F238E27FC236}">
                <a16:creationId xmlns:a16="http://schemas.microsoft.com/office/drawing/2014/main" id="{A877D42D-2F63-ABC1-256F-97A1AED1ED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4566" y="1203791"/>
            <a:ext cx="6110412" cy="4450418"/>
          </a:xfrm>
          <a:prstGeom prst="rect">
            <a:avLst/>
          </a:prstGeom>
        </p:spPr>
      </p:pic>
      <p:pic>
        <p:nvPicPr>
          <p:cNvPr id="7" name="Grafika 6">
            <a:extLst>
              <a:ext uri="{FF2B5EF4-FFF2-40B4-BE49-F238E27FC236}">
                <a16:creationId xmlns:a16="http://schemas.microsoft.com/office/drawing/2014/main" id="{F45EDC2C-95B1-506D-1C0D-2CA006500D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5475" y="4110248"/>
            <a:ext cx="2187540" cy="420171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B11D9F13-8F00-EDAD-F642-4A3E8955A086}"/>
              </a:ext>
            </a:extLst>
          </p:cNvPr>
          <p:cNvSpPr txBox="1"/>
          <p:nvPr/>
        </p:nvSpPr>
        <p:spPr>
          <a:xfrm>
            <a:off x="552183" y="3381469"/>
            <a:ext cx="748211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srgbClr val="F6F4FE"/>
                </a:solidFill>
                <a:effectLst/>
                <a:uLnTx/>
                <a:uFillTx/>
                <a:latin typeface="Athletics Bold" panose="02000000000000000000" pitchFamily="50" charset="0"/>
                <a:ea typeface="Inter SemiBold"/>
                <a:cs typeface="+mn-cs"/>
              </a:rPr>
              <a:t>w</a:t>
            </a:r>
            <a:r>
              <a:rPr kumimoji="0" lang="pl-PL" sz="3200" b="0" i="0" u="none" strike="noStrike" kern="1200" cap="none" spc="0" normalizeH="0" baseline="0" noProof="0" err="1">
                <a:ln>
                  <a:noFill/>
                </a:ln>
                <a:solidFill>
                  <a:srgbClr val="F6F4FE"/>
                </a:solidFill>
                <a:effectLst/>
                <a:uLnTx/>
                <a:uFillTx/>
                <a:latin typeface="Athletics Bold" panose="02000000000000000000" pitchFamily="50" charset="0"/>
                <a:ea typeface="Inter SemiBold"/>
                <a:cs typeface="+mn-cs"/>
              </a:rPr>
              <a:t>ith</a:t>
            </a: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srgbClr val="F6F4FE"/>
                </a:solidFill>
                <a:effectLst/>
                <a:uLnTx/>
                <a:uFillTx/>
                <a:latin typeface="Athletics Bold" panose="02000000000000000000" pitchFamily="50" charset="0"/>
                <a:ea typeface="Inter SemiBold"/>
                <a:cs typeface="+mn-cs"/>
              </a:rPr>
              <a:t> c</a:t>
            </a:r>
            <a:r>
              <a:rPr kumimoji="0" lang="pl-PL" sz="3200" b="0" i="0" u="none" strike="noStrike" kern="1200" cap="none" spc="0" normalizeH="0" baseline="0" noProof="0" err="1">
                <a:ln>
                  <a:noFill/>
                </a:ln>
                <a:solidFill>
                  <a:srgbClr val="F6F4FE"/>
                </a:solidFill>
                <a:effectLst/>
                <a:uLnTx/>
                <a:uFillTx/>
                <a:latin typeface="Athletics Bold" panose="02000000000000000000" pitchFamily="50" charset="0"/>
                <a:ea typeface="Inter SemiBold"/>
                <a:cs typeface="+mn-cs"/>
              </a:rPr>
              <a:t>ustomer</a:t>
            </a: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srgbClr val="F6F4FE"/>
                </a:solidFill>
                <a:effectLst/>
                <a:uLnTx/>
                <a:uFillTx/>
                <a:latin typeface="Athletics Bold" panose="02000000000000000000" pitchFamily="50" charset="0"/>
                <a:ea typeface="Inter SemiBold"/>
                <a:cs typeface="+mn-cs"/>
              </a:rPr>
              <a:t> AI agent</a:t>
            </a: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F6F4FE"/>
              </a:solidFill>
              <a:effectLst/>
              <a:uLnTx/>
              <a:uFillTx/>
              <a:latin typeface="Athletics Bold" panose="02000000000000000000" pitchFamily="50" charset="0"/>
              <a:ea typeface="Inter SemiBold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52E1E54-D11C-9B4D-11FC-65C959D2B0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5475" y="2196988"/>
            <a:ext cx="3495305" cy="1040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0886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800C28-2D02-3209-7A16-90EA45CAC6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B70474A8-8172-67E5-A5BF-A95913EF4F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672080"/>
            <a:ext cx="12192000" cy="4445000"/>
          </a:xfrm>
          <a:prstGeom prst="rect">
            <a:avLst/>
          </a:prstGeom>
        </p:spPr>
      </p:pic>
      <p:pic>
        <p:nvPicPr>
          <p:cNvPr id="22" name="Obraz 21" descr="Obraz zawierający obraz, kreskówka, sztuka, rysowanie&#10;&#10;Zawartość wygenerowana przez AI może być niepoprawna.">
            <a:extLst>
              <a:ext uri="{FF2B5EF4-FFF2-40B4-BE49-F238E27FC236}">
                <a16:creationId xmlns:a16="http://schemas.microsoft.com/office/drawing/2014/main" id="{8E63B970-1F9A-1F7E-3FF1-71E18ED64C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5855" y="858956"/>
            <a:ext cx="3591840" cy="5387761"/>
          </a:xfrm>
          <a:prstGeom prst="rect">
            <a:avLst/>
          </a:prstGeom>
        </p:spPr>
      </p:pic>
      <p:pic>
        <p:nvPicPr>
          <p:cNvPr id="9" name="Obraz 8" descr="Obraz zawierający tekst, Kreskówka, clipart, sowa&#10;&#10;Zawartość wygenerowana przez AI może być niepoprawna.">
            <a:extLst>
              <a:ext uri="{FF2B5EF4-FFF2-40B4-BE49-F238E27FC236}">
                <a16:creationId xmlns:a16="http://schemas.microsoft.com/office/drawing/2014/main" id="{2209F27C-815E-3E01-CE39-2C929D1A33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38094" y="858956"/>
            <a:ext cx="3597076" cy="5387761"/>
          </a:xfrm>
          <a:prstGeom prst="rect">
            <a:avLst/>
          </a:prstGeom>
        </p:spPr>
      </p:pic>
      <p:pic>
        <p:nvPicPr>
          <p:cNvPr id="16" name="Obraz 15" descr="Obraz zawierający rysowanie, kreskówka, obraz, ilustracja&#10;&#10;Zawartość wygenerowana przez AI może być niepoprawna.">
            <a:extLst>
              <a:ext uri="{FF2B5EF4-FFF2-40B4-BE49-F238E27FC236}">
                <a16:creationId xmlns:a16="http://schemas.microsoft.com/office/drawing/2014/main" id="{4161F97D-734B-34EF-1891-81A9CADFAE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72588" y="858956"/>
            <a:ext cx="3823172" cy="2613660"/>
          </a:xfrm>
          <a:prstGeom prst="rect">
            <a:avLst/>
          </a:prstGeom>
        </p:spPr>
      </p:pic>
      <p:pic>
        <p:nvPicPr>
          <p:cNvPr id="29" name="Obraz 28" descr="Obraz zawierający rysowanie, ilustracja, szkic, clipart&#10;&#10;Zawartość wygenerowana przez AI może być niepoprawna.">
            <a:extLst>
              <a:ext uri="{FF2B5EF4-FFF2-40B4-BE49-F238E27FC236}">
                <a16:creationId xmlns:a16="http://schemas.microsoft.com/office/drawing/2014/main" id="{900D4A61-605E-312C-291C-DFD9F0021B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2588" y="3581399"/>
            <a:ext cx="1781387" cy="2672080"/>
          </a:xfrm>
          <a:prstGeom prst="rect">
            <a:avLst/>
          </a:prstGeom>
        </p:spPr>
      </p:pic>
      <p:pic>
        <p:nvPicPr>
          <p:cNvPr id="31" name="Obraz 30" descr="Obraz zawierający obraz, sowa, rysowanie, Sztuka dziecięca&#10;&#10;Zawartość wygenerowana przez AI może być niepoprawna.">
            <a:extLst>
              <a:ext uri="{FF2B5EF4-FFF2-40B4-BE49-F238E27FC236}">
                <a16:creationId xmlns:a16="http://schemas.microsoft.com/office/drawing/2014/main" id="{D54D8B90-9ADE-227D-DD4E-D15CAA2C61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14374" y="3581400"/>
            <a:ext cx="1781386" cy="267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5386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637E36-BF30-1489-540D-A20F9D9F9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CA1291BA-A76F-2C95-38AF-694CBF5FE4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13000"/>
            <a:ext cx="12192000" cy="44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889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Obraz 45">
            <a:extLst>
              <a:ext uri="{FF2B5EF4-FFF2-40B4-BE49-F238E27FC236}">
                <a16:creationId xmlns:a16="http://schemas.microsoft.com/office/drawing/2014/main" id="{08CFCF7D-8621-08A0-97CE-A5C948F1E3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13000"/>
            <a:ext cx="12192000" cy="4445000"/>
          </a:xfrm>
          <a:prstGeom prst="rect">
            <a:avLst/>
          </a:prstGeom>
        </p:spPr>
      </p:pic>
      <p:sp>
        <p:nvSpPr>
          <p:cNvPr id="3" name="Tytuł 2">
            <a:extLst>
              <a:ext uri="{FF2B5EF4-FFF2-40B4-BE49-F238E27FC236}">
                <a16:creationId xmlns:a16="http://schemas.microsoft.com/office/drawing/2014/main" id="{64F3C9D3-AB31-01ED-AC7A-C98AE9AE26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KONTEKST BIZNESOWY – DLACZEGO AI?</a:t>
            </a:r>
          </a:p>
        </p:txBody>
      </p:sp>
      <p:sp>
        <p:nvSpPr>
          <p:cNvPr id="9" name="Google Shape;125;p18">
            <a:extLst>
              <a:ext uri="{FF2B5EF4-FFF2-40B4-BE49-F238E27FC236}">
                <a16:creationId xmlns:a16="http://schemas.microsoft.com/office/drawing/2014/main" id="{4694AE5C-ABFB-0319-9092-E4D5E19B64E5}"/>
              </a:ext>
            </a:extLst>
          </p:cNvPr>
          <p:cNvSpPr txBox="1"/>
          <p:nvPr/>
        </p:nvSpPr>
        <p:spPr>
          <a:xfrm>
            <a:off x="7034785" y="2083693"/>
            <a:ext cx="5157215" cy="2068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3" tIns="45694" rIns="91413" bIns="45694" anchor="t" anchorCtr="0">
            <a:spAutoFit/>
          </a:bodyPr>
          <a:lstStyle>
            <a:defPPr>
              <a:defRPr lang="x-non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</a:pPr>
            <a:r>
              <a:rPr lang="pl-PL" sz="2400" b="1" dirty="0">
                <a:solidFill>
                  <a:schemeClr val="accent3"/>
                </a:solidFill>
                <a:latin typeface="Athletics Bold" panose="02000000000000000000" pitchFamily="50" charset="0"/>
                <a:ea typeface="Inter SemiBold" panose="02000503000000020004" pitchFamily="2" charset="0"/>
                <a:cs typeface="Inter"/>
                <a:sym typeface="Inter"/>
              </a:rPr>
              <a:t>OTOCZENIE RYNKOWE</a:t>
            </a:r>
          </a:p>
          <a:p>
            <a:pPr algn="ctr">
              <a:lnSpc>
                <a:spcPct val="107000"/>
              </a:lnSpc>
            </a:pPr>
            <a:endParaRPr lang="pl-PL" sz="2400" b="1" dirty="0">
              <a:latin typeface="Athletics Bold" panose="02000000000000000000" pitchFamily="50" charset="0"/>
              <a:ea typeface="Inter SemiBold" panose="02000503000000020004" pitchFamily="2" charset="0"/>
              <a:cs typeface="Inter"/>
              <a:sym typeface="Inter"/>
            </a:endParaRPr>
          </a:p>
          <a:p>
            <a:pPr algn="ctr">
              <a:lnSpc>
                <a:spcPct val="107000"/>
              </a:lnSpc>
            </a:pPr>
            <a:r>
              <a:rPr lang="pl-PL" sz="2400" dirty="0">
                <a:latin typeface="Athletics Bold" panose="02000000000000000000" pitchFamily="50" charset="0"/>
              </a:rPr>
              <a:t>AI staje się kluczowym źródłem przewagi – nie tylko narzędziem do cięcia kosztów.</a:t>
            </a:r>
            <a:endParaRPr lang="pl-PL" sz="2400" b="1" dirty="0">
              <a:latin typeface="Athletics Bold" panose="02000000000000000000" pitchFamily="50" charset="0"/>
              <a:ea typeface="Inter SemiBold" panose="02000503000000020004" pitchFamily="2" charset="0"/>
              <a:cs typeface="Inter"/>
              <a:sym typeface="Inter"/>
            </a:endParaRPr>
          </a:p>
        </p:txBody>
      </p:sp>
      <p:sp>
        <p:nvSpPr>
          <p:cNvPr id="10" name="Google Shape;125;p18">
            <a:extLst>
              <a:ext uri="{FF2B5EF4-FFF2-40B4-BE49-F238E27FC236}">
                <a16:creationId xmlns:a16="http://schemas.microsoft.com/office/drawing/2014/main" id="{87174386-925F-747D-6DDA-F2CC68478168}"/>
              </a:ext>
            </a:extLst>
          </p:cNvPr>
          <p:cNvSpPr txBox="1"/>
          <p:nvPr/>
        </p:nvSpPr>
        <p:spPr>
          <a:xfrm>
            <a:off x="161216" y="2083693"/>
            <a:ext cx="5157215" cy="22657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3" tIns="45694" rIns="91413" bIns="45694" anchor="t" anchorCtr="0">
            <a:spAutoFit/>
          </a:bodyPr>
          <a:lstStyle>
            <a:defPPr>
              <a:defRPr lang="x-non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</a:pPr>
            <a:r>
              <a:rPr lang="pl-PL" sz="2400" b="1" dirty="0">
                <a:solidFill>
                  <a:schemeClr val="accent3"/>
                </a:solidFill>
                <a:latin typeface="Athletics Bold" panose="02000000000000000000" pitchFamily="50" charset="0"/>
                <a:ea typeface="Inter SemiBold" panose="02000503000000020004" pitchFamily="2" charset="0"/>
                <a:cs typeface="Inter"/>
                <a:sym typeface="Inter"/>
              </a:rPr>
              <a:t>STARTEGIA NEST BANKU</a:t>
            </a:r>
          </a:p>
          <a:p>
            <a:pPr algn="ctr">
              <a:lnSpc>
                <a:spcPct val="107000"/>
              </a:lnSpc>
            </a:pPr>
            <a:endParaRPr lang="pl-PL" sz="2400" dirty="0">
              <a:latin typeface="Athletics Bold" panose="02000000000000000000" pitchFamily="50" charset="0"/>
              <a:ea typeface="Inter SemiBold" panose="02000503000000020004" pitchFamily="2" charset="0"/>
              <a:sym typeface="Inter"/>
            </a:endParaRPr>
          </a:p>
          <a:p>
            <a:pPr algn="ctr">
              <a:lnSpc>
                <a:spcPct val="107000"/>
              </a:lnSpc>
            </a:pPr>
            <a:r>
              <a:rPr lang="pl-PL" sz="2400" dirty="0">
                <a:latin typeface="Athletics Bold" panose="02000000000000000000" pitchFamily="50" charset="0"/>
              </a:rPr>
              <a:t>Automatyzacja procesów → pracownicy skupiają się na rozwoju biznesu i obsłudze klientów</a:t>
            </a:r>
          </a:p>
          <a:p>
            <a:pPr algn="ctr">
              <a:lnSpc>
                <a:spcPct val="107000"/>
              </a:lnSpc>
            </a:pPr>
            <a:endParaRPr lang="pl-PL" sz="1200" dirty="0">
              <a:solidFill>
                <a:schemeClr val="bg1"/>
              </a:solidFill>
              <a:ea typeface="Inter SemiBold" panose="02000503000000020004" pitchFamily="2" charset="0"/>
              <a:sym typeface="Inter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90AD49D6-873C-3EA8-E0EE-90283049D2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60849" y="2885131"/>
            <a:ext cx="6120872" cy="4413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122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EF810DD8-4C78-ADE5-F9D8-2579938DFB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13000"/>
            <a:ext cx="12192000" cy="4445000"/>
          </a:xfrm>
          <a:prstGeom prst="rect">
            <a:avLst/>
          </a:prstGeom>
        </p:spPr>
      </p:pic>
      <p:sp>
        <p:nvSpPr>
          <p:cNvPr id="3" name="Tytuł 2">
            <a:extLst>
              <a:ext uri="{FF2B5EF4-FFF2-40B4-BE49-F238E27FC236}">
                <a16:creationId xmlns:a16="http://schemas.microsoft.com/office/drawing/2014/main" id="{E9D236CC-26C8-8D20-8749-2A76CA886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CEL I ZAŁOŻENIA PROJEKTU </a:t>
            </a:r>
          </a:p>
        </p:txBody>
      </p:sp>
      <p:sp>
        <p:nvSpPr>
          <p:cNvPr id="5" name="Symbol zastępczy tekstu 3">
            <a:extLst>
              <a:ext uri="{FF2B5EF4-FFF2-40B4-BE49-F238E27FC236}">
                <a16:creationId xmlns:a16="http://schemas.microsoft.com/office/drawing/2014/main" id="{43EADB78-0001-BE3C-E638-692FD820B533}"/>
              </a:ext>
            </a:extLst>
          </p:cNvPr>
          <p:cNvSpPr txBox="1">
            <a:spLocks/>
          </p:cNvSpPr>
          <p:nvPr/>
        </p:nvSpPr>
        <p:spPr>
          <a:xfrm>
            <a:off x="868184" y="2328699"/>
            <a:ext cx="5603736" cy="22006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800" kern="1200">
                <a:solidFill>
                  <a:schemeClr val="tx1"/>
                </a:solidFill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800" b="0" i="0" kern="120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  <a:sym typeface="Inter" panose="020B0604030504040204" pitchFamily="34" charset="0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800" kern="1200">
                <a:solidFill>
                  <a:schemeClr val="tx1"/>
                </a:solidFill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>
                <a:solidFill>
                  <a:schemeClr val="tx1"/>
                </a:solidFill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pl-PL" sz="2400" b="1" dirty="0">
                <a:solidFill>
                  <a:schemeClr val="accent3"/>
                </a:solidFill>
                <a:latin typeface="Athletics Bold" panose="02000000000000000000" pitchFamily="50" charset="0"/>
              </a:rPr>
              <a:t>CEL:</a:t>
            </a:r>
            <a:br>
              <a:rPr lang="pl-PL" sz="2400" b="1" dirty="0">
                <a:latin typeface="Athletics Bold" panose="02000000000000000000" pitchFamily="50" charset="0"/>
              </a:rPr>
            </a:br>
            <a:r>
              <a:rPr lang="pl-PL" sz="2400" b="1" dirty="0">
                <a:latin typeface="Athletics Bold" panose="02000000000000000000" pitchFamily="50" charset="0"/>
              </a:rPr>
              <a:t>Stworzyć środowisko pracy w którym AI staje się częścią naszej codzienności, zdejmując z barków rutynę i inspirując do odkrywania nowych możliwości.</a:t>
            </a:r>
            <a:endParaRPr lang="pl-PL" sz="2400" dirty="0">
              <a:latin typeface="Athletics Bold" panose="02000000000000000000" pitchFamily="50" charset="0"/>
            </a:endParaRPr>
          </a:p>
          <a:p>
            <a:endParaRPr lang="pl-PL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5F078CF6-6BB2-9081-188E-0DB7AC3437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6568533"/>
              </p:ext>
            </p:extLst>
          </p:nvPr>
        </p:nvGraphicFramePr>
        <p:xfrm>
          <a:off x="6236718" y="1266203"/>
          <a:ext cx="4867179" cy="4541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5011510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az 17">
            <a:extLst>
              <a:ext uri="{FF2B5EF4-FFF2-40B4-BE49-F238E27FC236}">
                <a16:creationId xmlns:a16="http://schemas.microsoft.com/office/drawing/2014/main" id="{8B5DF9E8-9341-75D3-F6B8-AB6E994758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13000"/>
            <a:ext cx="12192000" cy="4445000"/>
          </a:xfrm>
          <a:prstGeom prst="rect">
            <a:avLst/>
          </a:prstGeom>
        </p:spPr>
      </p:pic>
      <p:sp>
        <p:nvSpPr>
          <p:cNvPr id="3" name="Tytuł 2">
            <a:extLst>
              <a:ext uri="{FF2B5EF4-FFF2-40B4-BE49-F238E27FC236}">
                <a16:creationId xmlns:a16="http://schemas.microsoft.com/office/drawing/2014/main" id="{FF424B39-EDC3-CC8E-C759-5D21AA8C51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3910" y="476504"/>
            <a:ext cx="9778130" cy="485775"/>
          </a:xfrm>
        </p:spPr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PLAN I ETAPY PROJEKTU</a:t>
            </a:r>
          </a:p>
        </p:txBody>
      </p:sp>
      <p:cxnSp>
        <p:nvCxnSpPr>
          <p:cNvPr id="9" name="Łącznik prosty 8">
            <a:extLst>
              <a:ext uri="{FF2B5EF4-FFF2-40B4-BE49-F238E27FC236}">
                <a16:creationId xmlns:a16="http://schemas.microsoft.com/office/drawing/2014/main" id="{E9AE7EBD-2C94-D8B7-6999-925A7FA2F948}"/>
              </a:ext>
            </a:extLst>
          </p:cNvPr>
          <p:cNvCxnSpPr/>
          <p:nvPr/>
        </p:nvCxnSpPr>
        <p:spPr>
          <a:xfrm>
            <a:off x="703580" y="3362960"/>
            <a:ext cx="10923170" cy="0"/>
          </a:xfrm>
          <a:prstGeom prst="line">
            <a:avLst/>
          </a:prstGeom>
          <a:ln>
            <a:solidFill>
              <a:schemeClr val="tx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rostokąt: zaokrąglone rogi 10">
            <a:extLst>
              <a:ext uri="{FF2B5EF4-FFF2-40B4-BE49-F238E27FC236}">
                <a16:creationId xmlns:a16="http://schemas.microsoft.com/office/drawing/2014/main" id="{08BCE232-E999-D1C5-8878-B7D39A2B18E7}"/>
              </a:ext>
            </a:extLst>
          </p:cNvPr>
          <p:cNvSpPr/>
          <p:nvPr/>
        </p:nvSpPr>
        <p:spPr>
          <a:xfrm>
            <a:off x="703580" y="1836040"/>
            <a:ext cx="2072640" cy="965200"/>
          </a:xfrm>
          <a:prstGeom prst="roundRect">
            <a:avLst/>
          </a:prstGeom>
          <a:solidFill>
            <a:schemeClr val="accent1"/>
          </a:solidFill>
          <a:ln w="635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300" dirty="0">
                <a:solidFill>
                  <a:schemeClr val="tx1"/>
                </a:solidFill>
                <a:latin typeface="Athletics Bold" panose="02000000000000000000" pitchFamily="50" charset="0"/>
              </a:rPr>
              <a:t>DIAGNOZA POTRZEB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300" dirty="0">
                <a:solidFill>
                  <a:schemeClr val="tx1"/>
                </a:solidFill>
                <a:latin typeface="Athletics Bold" panose="02000000000000000000" pitchFamily="50" charset="0"/>
              </a:rPr>
              <a:t>POWOŁANIE ZESPOŁU</a:t>
            </a:r>
          </a:p>
        </p:txBody>
      </p:sp>
      <p:sp>
        <p:nvSpPr>
          <p:cNvPr id="12" name="Prostokąt: zaokrąglone rogi 11">
            <a:extLst>
              <a:ext uri="{FF2B5EF4-FFF2-40B4-BE49-F238E27FC236}">
                <a16:creationId xmlns:a16="http://schemas.microsoft.com/office/drawing/2014/main" id="{F606512B-098A-813D-6F92-FF199E1C7FA5}"/>
              </a:ext>
            </a:extLst>
          </p:cNvPr>
          <p:cNvSpPr/>
          <p:nvPr/>
        </p:nvSpPr>
        <p:spPr>
          <a:xfrm>
            <a:off x="1882140" y="3924681"/>
            <a:ext cx="2072640" cy="965200"/>
          </a:xfrm>
          <a:prstGeom prst="roundRect">
            <a:avLst/>
          </a:prstGeom>
          <a:solidFill>
            <a:schemeClr val="accent1"/>
          </a:solidFill>
          <a:ln w="635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300" dirty="0">
                <a:solidFill>
                  <a:schemeClr val="tx1"/>
                </a:solidFill>
                <a:latin typeface="Athletics Bold" panose="02000000000000000000" pitchFamily="50" charset="0"/>
              </a:rPr>
              <a:t>PIERWSZE WDROŻENIA AI </a:t>
            </a:r>
          </a:p>
        </p:txBody>
      </p:sp>
      <p:sp>
        <p:nvSpPr>
          <p:cNvPr id="13" name="Prostokąt: zaokrąglone rogi 12">
            <a:extLst>
              <a:ext uri="{FF2B5EF4-FFF2-40B4-BE49-F238E27FC236}">
                <a16:creationId xmlns:a16="http://schemas.microsoft.com/office/drawing/2014/main" id="{F3CA15D0-5FB2-6B45-3005-A06A44D0A685}"/>
              </a:ext>
            </a:extLst>
          </p:cNvPr>
          <p:cNvSpPr/>
          <p:nvPr/>
        </p:nvSpPr>
        <p:spPr>
          <a:xfrm>
            <a:off x="3670300" y="1836040"/>
            <a:ext cx="2072640" cy="965200"/>
          </a:xfrm>
          <a:prstGeom prst="roundRect">
            <a:avLst/>
          </a:prstGeom>
          <a:solidFill>
            <a:schemeClr val="accent1"/>
          </a:solidFill>
          <a:ln w="63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300" dirty="0">
                <a:solidFill>
                  <a:schemeClr val="tx1"/>
                </a:solidFill>
                <a:latin typeface="Athletics Bold" panose="02000000000000000000" pitchFamily="50" charset="0"/>
              </a:rPr>
              <a:t>SZKOLENIA I EDUKACJA</a:t>
            </a:r>
          </a:p>
        </p:txBody>
      </p:sp>
      <p:sp>
        <p:nvSpPr>
          <p:cNvPr id="14" name="Prostokąt: zaokrąglone rogi 13">
            <a:extLst>
              <a:ext uri="{FF2B5EF4-FFF2-40B4-BE49-F238E27FC236}">
                <a16:creationId xmlns:a16="http://schemas.microsoft.com/office/drawing/2014/main" id="{A822CEC6-4F78-923A-E477-C411533471C3}"/>
              </a:ext>
            </a:extLst>
          </p:cNvPr>
          <p:cNvSpPr/>
          <p:nvPr/>
        </p:nvSpPr>
        <p:spPr>
          <a:xfrm>
            <a:off x="5176042" y="3924681"/>
            <a:ext cx="2072640" cy="965200"/>
          </a:xfrm>
          <a:prstGeom prst="roundRect">
            <a:avLst/>
          </a:prstGeom>
          <a:solidFill>
            <a:schemeClr val="accent1"/>
          </a:solidFill>
          <a:ln w="6350" cap="sq">
            <a:solidFill>
              <a:srgbClr val="AFFFD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300" dirty="0">
                <a:solidFill>
                  <a:schemeClr val="tx1"/>
                </a:solidFill>
                <a:latin typeface="Athletics Bold" panose="02000000000000000000" pitchFamily="50" charset="0"/>
              </a:rPr>
              <a:t>WDROŻENIE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300" dirty="0">
                <a:solidFill>
                  <a:schemeClr val="tx1"/>
                </a:solidFill>
                <a:latin typeface="Athletics Bold" panose="02000000000000000000" pitchFamily="50" charset="0"/>
              </a:rPr>
              <a:t>PUCHACZA</a:t>
            </a:r>
          </a:p>
        </p:txBody>
      </p:sp>
      <p:sp>
        <p:nvSpPr>
          <p:cNvPr id="15" name="Prostokąt: zaokrąglone rogi 14">
            <a:extLst>
              <a:ext uri="{FF2B5EF4-FFF2-40B4-BE49-F238E27FC236}">
                <a16:creationId xmlns:a16="http://schemas.microsoft.com/office/drawing/2014/main" id="{33CE0343-62AD-E1B7-389C-FC4284F9AB43}"/>
              </a:ext>
            </a:extLst>
          </p:cNvPr>
          <p:cNvSpPr/>
          <p:nvPr/>
        </p:nvSpPr>
        <p:spPr>
          <a:xfrm>
            <a:off x="6637020" y="1836040"/>
            <a:ext cx="2072640" cy="965200"/>
          </a:xfrm>
          <a:prstGeom prst="roundRect">
            <a:avLst/>
          </a:prstGeom>
          <a:solidFill>
            <a:schemeClr val="accent1"/>
          </a:solidFill>
          <a:ln w="635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300" dirty="0">
                <a:solidFill>
                  <a:schemeClr val="tx1"/>
                </a:solidFill>
                <a:latin typeface="Athletics Bold" panose="02000000000000000000" pitchFamily="50" charset="0"/>
              </a:rPr>
              <a:t>WDROŻENIE NESTSTORE</a:t>
            </a:r>
          </a:p>
        </p:txBody>
      </p:sp>
      <p:sp>
        <p:nvSpPr>
          <p:cNvPr id="16" name="Prostokąt: zaokrąglone rogi 15">
            <a:extLst>
              <a:ext uri="{FF2B5EF4-FFF2-40B4-BE49-F238E27FC236}">
                <a16:creationId xmlns:a16="http://schemas.microsoft.com/office/drawing/2014/main" id="{67C439EE-E960-C440-DDED-BB21F5FAEEDF}"/>
              </a:ext>
            </a:extLst>
          </p:cNvPr>
          <p:cNvSpPr/>
          <p:nvPr/>
        </p:nvSpPr>
        <p:spPr>
          <a:xfrm>
            <a:off x="8375550" y="3924681"/>
            <a:ext cx="2072640" cy="965200"/>
          </a:xfrm>
          <a:prstGeom prst="roundRect">
            <a:avLst/>
          </a:prstGeom>
          <a:solidFill>
            <a:schemeClr val="accent1"/>
          </a:solidFill>
          <a:ln w="63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300" dirty="0">
                <a:solidFill>
                  <a:schemeClr val="tx1"/>
                </a:solidFill>
                <a:latin typeface="Athletics Bold" panose="02000000000000000000" pitchFamily="50" charset="0"/>
              </a:rPr>
              <a:t>AKTYWIZACJA I MOTYWACJA PRACOWNIKÓW</a:t>
            </a:r>
          </a:p>
        </p:txBody>
      </p:sp>
      <p:sp>
        <p:nvSpPr>
          <p:cNvPr id="17" name="Prostokąt: zaokrąglone rogi 16">
            <a:extLst>
              <a:ext uri="{FF2B5EF4-FFF2-40B4-BE49-F238E27FC236}">
                <a16:creationId xmlns:a16="http://schemas.microsoft.com/office/drawing/2014/main" id="{7CDE30DC-A2E2-5F58-E51A-39B9107B7B0C}"/>
              </a:ext>
            </a:extLst>
          </p:cNvPr>
          <p:cNvSpPr/>
          <p:nvPr/>
        </p:nvSpPr>
        <p:spPr>
          <a:xfrm>
            <a:off x="9554110" y="1836040"/>
            <a:ext cx="2072640" cy="965200"/>
          </a:xfrm>
          <a:prstGeom prst="roundRect">
            <a:avLst/>
          </a:prstGeom>
          <a:solidFill>
            <a:schemeClr val="accent1"/>
          </a:solidFill>
          <a:ln w="635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300" dirty="0">
                <a:solidFill>
                  <a:schemeClr val="tx1"/>
                </a:solidFill>
                <a:latin typeface="Athletics Bold" panose="02000000000000000000" pitchFamily="50" charset="0"/>
              </a:rPr>
              <a:t>EWALUACJA I DALSZY ROZWÓJ</a:t>
            </a:r>
          </a:p>
        </p:txBody>
      </p:sp>
      <p:cxnSp>
        <p:nvCxnSpPr>
          <p:cNvPr id="2" name="Łącznik prosty 1">
            <a:extLst>
              <a:ext uri="{FF2B5EF4-FFF2-40B4-BE49-F238E27FC236}">
                <a16:creationId xmlns:a16="http://schemas.microsoft.com/office/drawing/2014/main" id="{193FACE3-8BA3-C71B-A839-AA99DBDC55EA}"/>
              </a:ext>
            </a:extLst>
          </p:cNvPr>
          <p:cNvCxnSpPr>
            <a:cxnSpLocks/>
          </p:cNvCxnSpPr>
          <p:nvPr/>
        </p:nvCxnSpPr>
        <p:spPr>
          <a:xfrm>
            <a:off x="1758386" y="2801240"/>
            <a:ext cx="0" cy="5617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Łącznik prosty 5">
            <a:extLst>
              <a:ext uri="{FF2B5EF4-FFF2-40B4-BE49-F238E27FC236}">
                <a16:creationId xmlns:a16="http://schemas.microsoft.com/office/drawing/2014/main" id="{AA0FD3C3-C799-776B-C75C-778EBD47A3B8}"/>
              </a:ext>
            </a:extLst>
          </p:cNvPr>
          <p:cNvCxnSpPr>
            <a:cxnSpLocks/>
          </p:cNvCxnSpPr>
          <p:nvPr/>
        </p:nvCxnSpPr>
        <p:spPr>
          <a:xfrm>
            <a:off x="4702113" y="2801240"/>
            <a:ext cx="0" cy="5617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Łącznik prosty 6">
            <a:extLst>
              <a:ext uri="{FF2B5EF4-FFF2-40B4-BE49-F238E27FC236}">
                <a16:creationId xmlns:a16="http://schemas.microsoft.com/office/drawing/2014/main" id="{043488F6-355D-0C1B-C931-EE7640BD0AE1}"/>
              </a:ext>
            </a:extLst>
          </p:cNvPr>
          <p:cNvCxnSpPr>
            <a:cxnSpLocks/>
          </p:cNvCxnSpPr>
          <p:nvPr/>
        </p:nvCxnSpPr>
        <p:spPr>
          <a:xfrm>
            <a:off x="7707716" y="2801240"/>
            <a:ext cx="0" cy="5617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Łącznik prosty 7">
            <a:extLst>
              <a:ext uri="{FF2B5EF4-FFF2-40B4-BE49-F238E27FC236}">
                <a16:creationId xmlns:a16="http://schemas.microsoft.com/office/drawing/2014/main" id="{7670F3F0-0758-E438-4AC0-C4A9691B84BD}"/>
              </a:ext>
            </a:extLst>
          </p:cNvPr>
          <p:cNvCxnSpPr>
            <a:cxnSpLocks/>
          </p:cNvCxnSpPr>
          <p:nvPr/>
        </p:nvCxnSpPr>
        <p:spPr>
          <a:xfrm>
            <a:off x="10678943" y="2801240"/>
            <a:ext cx="0" cy="5617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DB8EF2EA-E96F-2741-A359-CCDC535A5771}"/>
              </a:ext>
            </a:extLst>
          </p:cNvPr>
          <p:cNvCxnSpPr>
            <a:cxnSpLocks/>
          </p:cNvCxnSpPr>
          <p:nvPr/>
        </p:nvCxnSpPr>
        <p:spPr>
          <a:xfrm>
            <a:off x="2959252" y="3362961"/>
            <a:ext cx="0" cy="5617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31E08D3B-80DE-2F03-1AE3-F373075CCEA0}"/>
              </a:ext>
            </a:extLst>
          </p:cNvPr>
          <p:cNvCxnSpPr>
            <a:cxnSpLocks/>
          </p:cNvCxnSpPr>
          <p:nvPr/>
        </p:nvCxnSpPr>
        <p:spPr>
          <a:xfrm>
            <a:off x="6212362" y="3362961"/>
            <a:ext cx="0" cy="5617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Łącznik prosty 21">
            <a:extLst>
              <a:ext uri="{FF2B5EF4-FFF2-40B4-BE49-F238E27FC236}">
                <a16:creationId xmlns:a16="http://schemas.microsoft.com/office/drawing/2014/main" id="{7E0B2829-CA1E-E386-3B33-4D29B03491AC}"/>
              </a:ext>
            </a:extLst>
          </p:cNvPr>
          <p:cNvCxnSpPr>
            <a:cxnSpLocks/>
          </p:cNvCxnSpPr>
          <p:nvPr/>
        </p:nvCxnSpPr>
        <p:spPr>
          <a:xfrm>
            <a:off x="9411870" y="3362961"/>
            <a:ext cx="0" cy="5617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wal 3">
            <a:extLst>
              <a:ext uri="{FF2B5EF4-FFF2-40B4-BE49-F238E27FC236}">
                <a16:creationId xmlns:a16="http://schemas.microsoft.com/office/drawing/2014/main" id="{4945F0F0-1B5A-7600-94B0-B985B0CF9885}"/>
              </a:ext>
            </a:extLst>
          </p:cNvPr>
          <p:cNvSpPr/>
          <p:nvPr/>
        </p:nvSpPr>
        <p:spPr>
          <a:xfrm flipH="1">
            <a:off x="1640462" y="3254082"/>
            <a:ext cx="217755" cy="217755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sp>
        <p:nvSpPr>
          <p:cNvPr id="5" name="Owal 4">
            <a:extLst>
              <a:ext uri="{FF2B5EF4-FFF2-40B4-BE49-F238E27FC236}">
                <a16:creationId xmlns:a16="http://schemas.microsoft.com/office/drawing/2014/main" id="{F299F5F0-6E11-182F-1873-5BC9B7B525FD}"/>
              </a:ext>
            </a:extLst>
          </p:cNvPr>
          <p:cNvSpPr/>
          <p:nvPr/>
        </p:nvSpPr>
        <p:spPr>
          <a:xfrm flipH="1">
            <a:off x="2862771" y="3254082"/>
            <a:ext cx="217755" cy="217755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sp>
        <p:nvSpPr>
          <p:cNvPr id="19" name="Owal 18">
            <a:extLst>
              <a:ext uri="{FF2B5EF4-FFF2-40B4-BE49-F238E27FC236}">
                <a16:creationId xmlns:a16="http://schemas.microsoft.com/office/drawing/2014/main" id="{BAFEA34D-93D4-9DCC-CB6D-F2E6CE870B61}"/>
              </a:ext>
            </a:extLst>
          </p:cNvPr>
          <p:cNvSpPr/>
          <p:nvPr/>
        </p:nvSpPr>
        <p:spPr>
          <a:xfrm flipH="1">
            <a:off x="4599002" y="3254081"/>
            <a:ext cx="217755" cy="217755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sp>
        <p:nvSpPr>
          <p:cNvPr id="20" name="Owal 19">
            <a:extLst>
              <a:ext uri="{FF2B5EF4-FFF2-40B4-BE49-F238E27FC236}">
                <a16:creationId xmlns:a16="http://schemas.microsoft.com/office/drawing/2014/main" id="{813B3BF4-A983-8E52-6148-4AFF81C99747}"/>
              </a:ext>
            </a:extLst>
          </p:cNvPr>
          <p:cNvSpPr/>
          <p:nvPr/>
        </p:nvSpPr>
        <p:spPr>
          <a:xfrm flipH="1">
            <a:off x="6127055" y="3254080"/>
            <a:ext cx="217755" cy="217755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sp>
        <p:nvSpPr>
          <p:cNvPr id="23" name="Owal 22">
            <a:extLst>
              <a:ext uri="{FF2B5EF4-FFF2-40B4-BE49-F238E27FC236}">
                <a16:creationId xmlns:a16="http://schemas.microsoft.com/office/drawing/2014/main" id="{75A66B41-ACFD-263A-7F1D-589525288BD8}"/>
              </a:ext>
            </a:extLst>
          </p:cNvPr>
          <p:cNvSpPr/>
          <p:nvPr/>
        </p:nvSpPr>
        <p:spPr>
          <a:xfrm flipH="1">
            <a:off x="7616195" y="3254079"/>
            <a:ext cx="217755" cy="217755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sp>
        <p:nvSpPr>
          <p:cNvPr id="24" name="Owal 23">
            <a:extLst>
              <a:ext uri="{FF2B5EF4-FFF2-40B4-BE49-F238E27FC236}">
                <a16:creationId xmlns:a16="http://schemas.microsoft.com/office/drawing/2014/main" id="{7AC6BC03-4F85-FBA7-682C-BAF9A2678872}"/>
              </a:ext>
            </a:extLst>
          </p:cNvPr>
          <p:cNvSpPr/>
          <p:nvPr/>
        </p:nvSpPr>
        <p:spPr>
          <a:xfrm flipH="1">
            <a:off x="9302992" y="3254078"/>
            <a:ext cx="217755" cy="217755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  <p:sp>
        <p:nvSpPr>
          <p:cNvPr id="25" name="Owal 24">
            <a:extLst>
              <a:ext uri="{FF2B5EF4-FFF2-40B4-BE49-F238E27FC236}">
                <a16:creationId xmlns:a16="http://schemas.microsoft.com/office/drawing/2014/main" id="{063000A2-6BF1-18EE-FDE0-1FDB82840991}"/>
              </a:ext>
            </a:extLst>
          </p:cNvPr>
          <p:cNvSpPr/>
          <p:nvPr/>
        </p:nvSpPr>
        <p:spPr>
          <a:xfrm flipH="1">
            <a:off x="10590430" y="3254078"/>
            <a:ext cx="217755" cy="217755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l-PL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0829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az 10">
            <a:extLst>
              <a:ext uri="{FF2B5EF4-FFF2-40B4-BE49-F238E27FC236}">
                <a16:creationId xmlns:a16="http://schemas.microsoft.com/office/drawing/2014/main" id="{381A1633-193F-950E-34B5-BA4B18FCE3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13000"/>
            <a:ext cx="12192000" cy="4445000"/>
          </a:xfrm>
          <a:prstGeom prst="rect">
            <a:avLst/>
          </a:prstGeom>
        </p:spPr>
      </p:pic>
      <p:sp>
        <p:nvSpPr>
          <p:cNvPr id="14" name="Tytuł 2">
            <a:extLst>
              <a:ext uri="{FF2B5EF4-FFF2-40B4-BE49-F238E27FC236}">
                <a16:creationId xmlns:a16="http://schemas.microsoft.com/office/drawing/2014/main" id="{F2EC6AD6-3514-5DE6-337F-3C5EB85536A3}"/>
              </a:ext>
            </a:extLst>
          </p:cNvPr>
          <p:cNvSpPr txBox="1">
            <a:spLocks/>
          </p:cNvSpPr>
          <p:nvPr/>
        </p:nvSpPr>
        <p:spPr>
          <a:xfrm>
            <a:off x="2123910" y="476504"/>
            <a:ext cx="9778130" cy="48577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1pPr>
          </a:lstStyle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ZESPÓŁ PROJEKTOWY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E63A42A4-E18B-A8A0-AFF1-31DC75B2EF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700" y="2413000"/>
            <a:ext cx="12192000" cy="1843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9132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>
            <a:extLst>
              <a:ext uri="{FF2B5EF4-FFF2-40B4-BE49-F238E27FC236}">
                <a16:creationId xmlns:a16="http://schemas.microsoft.com/office/drawing/2014/main" id="{F832150B-1090-A6D3-47FE-568D2627B5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51393"/>
            <a:ext cx="12192000" cy="4445000"/>
          </a:xfrm>
          <a:prstGeom prst="rect">
            <a:avLst/>
          </a:prstGeom>
        </p:spPr>
      </p:pic>
      <p:sp>
        <p:nvSpPr>
          <p:cNvPr id="3" name="Tytuł 2">
            <a:extLst>
              <a:ext uri="{FF2B5EF4-FFF2-40B4-BE49-F238E27FC236}">
                <a16:creationId xmlns:a16="http://schemas.microsoft.com/office/drawing/2014/main" id="{50742600-92B5-02B8-18F6-F8CE022D6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PIERWSZE WDROŻENIA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D8676EB7-4D67-814E-E1E8-4E89A622D4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675" y="2444115"/>
            <a:ext cx="4334554" cy="984885"/>
          </a:xfrm>
        </p:spPr>
        <p:txBody>
          <a:bodyPr/>
          <a:lstStyle/>
          <a:p>
            <a:endParaRPr lang="pl-PL" i="1" dirty="0"/>
          </a:p>
          <a:p>
            <a:endParaRPr lang="pl-PL" i="1" dirty="0"/>
          </a:p>
          <a:p>
            <a:endParaRPr lang="pl-PL" i="1" dirty="0"/>
          </a:p>
        </p:txBody>
      </p:sp>
      <p:cxnSp>
        <p:nvCxnSpPr>
          <p:cNvPr id="8" name="Łącznik prosty 7">
            <a:extLst>
              <a:ext uri="{FF2B5EF4-FFF2-40B4-BE49-F238E27FC236}">
                <a16:creationId xmlns:a16="http://schemas.microsoft.com/office/drawing/2014/main" id="{4E4D3941-F883-4816-7994-EC66C7062D1F}"/>
              </a:ext>
            </a:extLst>
          </p:cNvPr>
          <p:cNvCxnSpPr>
            <a:cxnSpLocks/>
          </p:cNvCxnSpPr>
          <p:nvPr/>
        </p:nvCxnSpPr>
        <p:spPr>
          <a:xfrm>
            <a:off x="5797952" y="1601410"/>
            <a:ext cx="0" cy="3827117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ytuł 2">
            <a:extLst>
              <a:ext uri="{FF2B5EF4-FFF2-40B4-BE49-F238E27FC236}">
                <a16:creationId xmlns:a16="http://schemas.microsoft.com/office/drawing/2014/main" id="{DC469676-5B41-08CC-4373-CE8697303A01}"/>
              </a:ext>
            </a:extLst>
          </p:cNvPr>
          <p:cNvSpPr txBox="1">
            <a:spLocks/>
          </p:cNvSpPr>
          <p:nvPr/>
        </p:nvSpPr>
        <p:spPr>
          <a:xfrm>
            <a:off x="136680" y="2456773"/>
            <a:ext cx="4334565" cy="48577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1pPr>
          </a:lstStyle>
          <a:p>
            <a:pPr algn="ctr"/>
            <a:r>
              <a:rPr lang="pl-PL" sz="2400" b="0" dirty="0">
                <a:solidFill>
                  <a:schemeClr val="accent3"/>
                </a:solidFill>
                <a:latin typeface="Athletics Bold" panose="02000000000000000000" pitchFamily="50" charset="0"/>
              </a:rPr>
              <a:t>LIDERZY</a:t>
            </a:r>
            <a:br>
              <a:rPr lang="pl-PL" b="0" dirty="0"/>
            </a:br>
            <a:endParaRPr lang="pl-PL" b="0" dirty="0"/>
          </a:p>
          <a:p>
            <a:pPr algn="ctr"/>
            <a:r>
              <a:rPr lang="pl-PL" sz="1800" dirty="0">
                <a:latin typeface="Athletics Bold" panose="02000000000000000000" pitchFamily="50" charset="0"/>
              </a:rPr>
              <a:t>ODKRYWANIE POTENCJAŁU AI</a:t>
            </a:r>
          </a:p>
        </p:txBody>
      </p:sp>
      <p:sp>
        <p:nvSpPr>
          <p:cNvPr id="12" name="Tytuł 2">
            <a:extLst>
              <a:ext uri="{FF2B5EF4-FFF2-40B4-BE49-F238E27FC236}">
                <a16:creationId xmlns:a16="http://schemas.microsoft.com/office/drawing/2014/main" id="{43DA6C97-157F-8AC1-6E5D-E330C5C5F32B}"/>
              </a:ext>
            </a:extLst>
          </p:cNvPr>
          <p:cNvSpPr txBox="1">
            <a:spLocks/>
          </p:cNvSpPr>
          <p:nvPr/>
        </p:nvSpPr>
        <p:spPr>
          <a:xfrm>
            <a:off x="7720755" y="2546642"/>
            <a:ext cx="4334565" cy="48577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1pPr>
          </a:lstStyle>
          <a:p>
            <a:pPr algn="ctr"/>
            <a:r>
              <a:rPr lang="pl-PL" sz="2400" dirty="0">
                <a:solidFill>
                  <a:schemeClr val="accent3"/>
                </a:solidFill>
                <a:latin typeface="Athletics Bold" panose="02000000000000000000" pitchFamily="50" charset="0"/>
              </a:rPr>
              <a:t>PRACOWNICY</a:t>
            </a:r>
            <a:br>
              <a:rPr lang="pl-PL" dirty="0">
                <a:latin typeface="Athletics Bold" panose="02000000000000000000" pitchFamily="50" charset="0"/>
              </a:rPr>
            </a:br>
            <a:endParaRPr lang="pl-PL" dirty="0">
              <a:latin typeface="Athletics Bold" panose="02000000000000000000" pitchFamily="50" charset="0"/>
            </a:endParaRPr>
          </a:p>
          <a:p>
            <a:pPr algn="ctr"/>
            <a:r>
              <a:rPr lang="pl-PL" sz="1800" dirty="0">
                <a:latin typeface="Athletics Bold" panose="02000000000000000000" pitchFamily="50" charset="0"/>
              </a:rPr>
              <a:t>PROSTE I DOSTĘPNE NARZĘDZIE </a:t>
            </a:r>
          </a:p>
        </p:txBody>
      </p:sp>
      <p:sp>
        <p:nvSpPr>
          <p:cNvPr id="13" name="Tytuł 2">
            <a:extLst>
              <a:ext uri="{FF2B5EF4-FFF2-40B4-BE49-F238E27FC236}">
                <a16:creationId xmlns:a16="http://schemas.microsoft.com/office/drawing/2014/main" id="{28C63A69-0578-490E-489F-A34C0AF57D36}"/>
              </a:ext>
            </a:extLst>
          </p:cNvPr>
          <p:cNvSpPr txBox="1">
            <a:spLocks/>
          </p:cNvSpPr>
          <p:nvPr/>
        </p:nvSpPr>
        <p:spPr>
          <a:xfrm>
            <a:off x="665698" y="2793169"/>
            <a:ext cx="4334565" cy="48577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Inter" panose="020B0604030504040204" pitchFamily="34" charset="0"/>
                <a:ea typeface="Inter" panose="020B0604030504040204" pitchFamily="34" charset="0"/>
                <a:cs typeface="Inter" panose="020B0604030504040204" pitchFamily="34" charset="0"/>
                <a:sym typeface="Inter" panose="020B0604030504040204" pitchFamily="34" charset="0"/>
              </a:defRPr>
            </a:lvl1pPr>
          </a:lstStyle>
          <a:p>
            <a:pPr algn="ctr"/>
            <a:endParaRPr lang="pl-PL" dirty="0"/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12BF4A44-0BE8-4EA7-EC89-C51FE5A5A1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020" y="3293310"/>
            <a:ext cx="3821686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pl-PL" altLang="pl-PL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Budowanie świadomości i zaufani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pl-PL" altLang="pl-P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thletics Bold" panose="02000000000000000000" pitchFamily="50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pl-PL" altLang="pl-PL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Ambasadorzy AI w zespołac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pl-PL" altLang="pl-PL" dirty="0">
              <a:latin typeface="Athletics Bold" panose="02000000000000000000" pitchFamily="50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dirty="0">
                <a:latin typeface="Athletics Bold" panose="02000000000000000000" pitchFamily="50" charset="0"/>
              </a:rPr>
              <a:t>Nauka przez doświadczeni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pl-PL" altLang="pl-P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thletics Bold" panose="02000000000000000000" pitchFamily="50" charset="0"/>
            </a:endParaRP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438B817D-2D40-28CF-EC39-E260C57B9101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7651307" y="3278944"/>
            <a:ext cx="4169453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pl-PL" altLang="pl-PL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Łatwa adopcja – narzędzie tam, gdzie codzienna prac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pl-PL" altLang="pl-P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thletics Bold" panose="02000000000000000000" pitchFamily="50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pl-PL" altLang="pl-PL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thletics Bold" panose="02000000000000000000" pitchFamily="50" charset="0"/>
              </a:rPr>
              <a:t>Szybkie efekty bez skomplikowanej nauki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B9873740-D491-A018-76D2-81779A6AC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l-PL"/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43D39E39-1739-527D-3B5C-3C960C28E6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2706" y="1601410"/>
            <a:ext cx="3030491" cy="3812038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EBAB050D-8E7C-71B9-5FFA-75097ACC4F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7350" y="5280443"/>
            <a:ext cx="894053" cy="812776"/>
          </a:xfrm>
          <a:prstGeom prst="rect">
            <a:avLst/>
          </a:prstGeom>
        </p:spPr>
      </p:pic>
      <p:pic>
        <p:nvPicPr>
          <p:cNvPr id="17" name="Obraz 16">
            <a:extLst>
              <a:ext uri="{FF2B5EF4-FFF2-40B4-BE49-F238E27FC236}">
                <a16:creationId xmlns:a16="http://schemas.microsoft.com/office/drawing/2014/main" id="{FA1378D0-FCD4-DC36-3D60-67CE4FA9B9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51647" y="5285285"/>
            <a:ext cx="2276197" cy="807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7557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Obraz 13">
            <a:extLst>
              <a:ext uri="{FF2B5EF4-FFF2-40B4-BE49-F238E27FC236}">
                <a16:creationId xmlns:a16="http://schemas.microsoft.com/office/drawing/2014/main" id="{3EC34351-DCE0-D39C-0F7A-13E30C9868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528631"/>
            <a:ext cx="12192000" cy="4445000"/>
          </a:xfrm>
          <a:prstGeom prst="rect">
            <a:avLst/>
          </a:prstGeom>
        </p:spPr>
      </p:pic>
      <p:sp>
        <p:nvSpPr>
          <p:cNvPr id="3" name="Tytuł 2">
            <a:extLst>
              <a:ext uri="{FF2B5EF4-FFF2-40B4-BE49-F238E27FC236}">
                <a16:creationId xmlns:a16="http://schemas.microsoft.com/office/drawing/2014/main" id="{AEAC7827-587C-14B4-56AA-DFBECA64B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EDUKACJA 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7195629F-A093-69F4-38F9-9BE454C2E72C}"/>
              </a:ext>
            </a:extLst>
          </p:cNvPr>
          <p:cNvSpPr/>
          <p:nvPr/>
        </p:nvSpPr>
        <p:spPr>
          <a:xfrm>
            <a:off x="1307938" y="2134629"/>
            <a:ext cx="2696901" cy="104172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l-PL" sz="1600" dirty="0">
                <a:solidFill>
                  <a:schemeClr val="bg1"/>
                </a:solidFill>
              </a:rPr>
              <a:t>AI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E93DC982-699F-5154-AF91-C602F9F7F4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3442966"/>
              </p:ext>
            </p:extLst>
          </p:nvPr>
        </p:nvGraphicFramePr>
        <p:xfrm>
          <a:off x="254487" y="921639"/>
          <a:ext cx="8145007" cy="48819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Obraz 12">
            <a:extLst>
              <a:ext uri="{FF2B5EF4-FFF2-40B4-BE49-F238E27FC236}">
                <a16:creationId xmlns:a16="http://schemas.microsoft.com/office/drawing/2014/main" id="{3C11BA9F-A8E3-C700-E6AE-64159CBBBC1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82521" y="2413000"/>
            <a:ext cx="2749484" cy="44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001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id="{EF3D6F25-8DEA-3BB2-6DF3-6E337A540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PUCHACZ – WEWNĘTRZNY ASYSTENT AI</a:t>
            </a:r>
          </a:p>
        </p:txBody>
      </p:sp>
      <p:sp>
        <p:nvSpPr>
          <p:cNvPr id="10" name="AutoShape 2">
            <a:extLst>
              <a:ext uri="{FF2B5EF4-FFF2-40B4-BE49-F238E27FC236}">
                <a16:creationId xmlns:a16="http://schemas.microsoft.com/office/drawing/2014/main" id="{41FB8BF3-F357-4B38-4A20-58176C34B4D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12" name="Obraz 11" descr="Obraz zawierający tekst, zrzut ekranu, projekt graficzny, Czcionka&#10;&#10;Zawartość wygenerowana przez AI może być niepoprawna.">
            <a:extLst>
              <a:ext uri="{FF2B5EF4-FFF2-40B4-BE49-F238E27FC236}">
                <a16:creationId xmlns:a16="http://schemas.microsoft.com/office/drawing/2014/main" id="{0DFFE179-9654-829E-DA37-FBCCF49440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8900"/>
            <a:ext cx="12192000" cy="44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6516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33A65E-58F0-4A22-62F5-B6402A697D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id="{73317895-5D96-6F10-CB8E-7F8ADD7F7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pl-PL" sz="3600" dirty="0">
                <a:solidFill>
                  <a:schemeClr val="accent6"/>
                </a:solidFill>
                <a:latin typeface="Athletics Bold" panose="02000000000000000000" pitchFamily="50" charset="0"/>
              </a:rPr>
              <a:t>NESTSTORE</a:t>
            </a: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9A4674C1-B2BF-388D-523D-03F12552A2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06500"/>
            <a:ext cx="12192000" cy="4445000"/>
          </a:xfrm>
          <a:prstGeom prst="rect">
            <a:avLst/>
          </a:prstGeom>
          <a:solidFill>
            <a:srgbClr val="AFFFD1"/>
          </a:solidFill>
        </p:spPr>
      </p:pic>
    </p:spTree>
    <p:extLst>
      <p:ext uri="{BB962C8B-B14F-4D97-AF65-F5344CB8AC3E}">
        <p14:creationId xmlns:p14="http://schemas.microsoft.com/office/powerpoint/2010/main" val="29286989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Scheme1">
      <a:dk1>
        <a:srgbClr val="16161E"/>
      </a:dk1>
      <a:lt1>
        <a:srgbClr val="FFFFFF"/>
      </a:lt1>
      <a:dk2>
        <a:srgbClr val="FFFFFF"/>
      </a:dk2>
      <a:lt2>
        <a:srgbClr val="FFFFFF"/>
      </a:lt2>
      <a:accent1>
        <a:srgbClr val="16161E"/>
      </a:accent1>
      <a:accent2>
        <a:srgbClr val="674AF5"/>
      </a:accent2>
      <a:accent3>
        <a:srgbClr val="FC7D5D"/>
      </a:accent3>
      <a:accent4>
        <a:srgbClr val="8594A9"/>
      </a:accent4>
      <a:accent5>
        <a:srgbClr val="ACD3F7"/>
      </a:accent5>
      <a:accent6>
        <a:srgbClr val="BCA8FF"/>
      </a:accent6>
      <a:hlink>
        <a:srgbClr val="0000FF"/>
      </a:hlink>
      <a:folHlink>
        <a:srgbClr val="800080"/>
      </a:folHlink>
    </a:clrScheme>
    <a:fontScheme name="Custom">
      <a:majorFont>
        <a:latin typeface="Inter SemiBold"/>
        <a:ea typeface=""/>
        <a:cs typeface=""/>
      </a:majorFont>
      <a:minorFont>
        <a:latin typeface="Inter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16161E"/>
        </a:dk1>
        <a:lt1>
          <a:srgbClr val="FFFFFF"/>
        </a:lt1>
        <a:dk2>
          <a:srgbClr val="FFFFFF"/>
        </a:dk2>
        <a:lt2>
          <a:srgbClr val="FFFFFF"/>
        </a:lt2>
        <a:accent1>
          <a:srgbClr val="16161E"/>
        </a:accent1>
        <a:accent2>
          <a:srgbClr val="674AF5"/>
        </a:accent2>
        <a:accent3>
          <a:srgbClr val="FC7D5D"/>
        </a:accent3>
        <a:accent4>
          <a:srgbClr val="8594A9"/>
        </a:accent4>
        <a:accent5>
          <a:srgbClr val="ACD3F7"/>
        </a:accent5>
        <a:accent6>
          <a:srgbClr val="BCA8F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EN_BASEFORM_16x9_OF_v12.1(3)" id="{F539C26B-5B12-4D2A-9737-24B8711B29B0}" vid="{6AD03C90-A630-4E3B-8492-2FECB97F9A5D}"/>
    </a:ext>
  </a:extLst>
</a:theme>
</file>

<file path=ppt/theme/theme2.xml><?xml version="1.0" encoding="utf-8"?>
<a:theme xmlns:a="http://schemas.openxmlformats.org/drawingml/2006/main" name="Nest!_presentation">
  <a:themeElements>
    <a:clrScheme name="Nest Palette">
      <a:dk1>
        <a:srgbClr val="16161E"/>
      </a:dk1>
      <a:lt1>
        <a:srgbClr val="FFFFFF"/>
      </a:lt1>
      <a:dk2>
        <a:srgbClr val="BCA8FF"/>
      </a:dk2>
      <a:lt2>
        <a:srgbClr val="F6F4FE"/>
      </a:lt2>
      <a:accent1>
        <a:srgbClr val="674AF5"/>
      </a:accent1>
      <a:accent2>
        <a:srgbClr val="FC7D5D"/>
      </a:accent2>
      <a:accent3>
        <a:srgbClr val="8594A9"/>
      </a:accent3>
      <a:accent4>
        <a:srgbClr val="ACD3F7"/>
      </a:accent4>
      <a:accent5>
        <a:srgbClr val="674AF5"/>
      </a:accent5>
      <a:accent6>
        <a:srgbClr val="AFFFD1"/>
      </a:accent6>
      <a:hlink>
        <a:srgbClr val="674AF5"/>
      </a:hlink>
      <a:folHlink>
        <a:srgbClr val="954ECA"/>
      </a:folHlink>
    </a:clrScheme>
    <a:fontScheme name="Nest Fonts">
      <a:majorFont>
        <a:latin typeface="Inter SemiBold"/>
        <a:ea typeface=""/>
        <a:cs typeface=""/>
      </a:majorFont>
      <a:minorFont>
        <a:latin typeface="Inter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st!_presentation" id="{69C61B9C-CCB6-44A9-A383-3E9F1EE7ACA2}" vid="{DA8D28AC-39AC-4A12-ADC3-D34EC17D2BC6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Pakiet 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ec47dc4-7056-487a-b7a5-509242bc6182">
      <Terms xmlns="http://schemas.microsoft.com/office/infopath/2007/PartnerControls"/>
    </lcf76f155ced4ddcb4097134ff3c332f>
    <TaxCatchAll xmlns="8a22251b-d7e9-4f7e-a635-95108dcc5679" xsi:nil="true"/>
    <Typposta xmlns="aec47dc4-7056-487a-b7a5-509242bc6182" xsi:nil="true"/>
    <Zaakceptowana xmlns="aec47dc4-7056-487a-b7a5-509242bc6182">false</Zaakceptowana>
    <Status xmlns="aec47dc4-7056-487a-b7a5-509242bc6182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209721912E295449BC442C0F84651EB" ma:contentTypeVersion="18" ma:contentTypeDescription="Utwórz nowy dokument." ma:contentTypeScope="" ma:versionID="9c67f4dd2cda91cd1beb06d53c806326">
  <xsd:schema xmlns:xsd="http://www.w3.org/2001/XMLSchema" xmlns:xs="http://www.w3.org/2001/XMLSchema" xmlns:p="http://schemas.microsoft.com/office/2006/metadata/properties" xmlns:ns2="aec47dc4-7056-487a-b7a5-509242bc6182" xmlns:ns3="8a22251b-d7e9-4f7e-a635-95108dcc5679" targetNamespace="http://schemas.microsoft.com/office/2006/metadata/properties" ma:root="true" ma:fieldsID="95f8e17c4e766f0b953612b50b9d2305" ns2:_="" ns3:_="">
    <xsd:import namespace="aec47dc4-7056-487a-b7a5-509242bc6182"/>
    <xsd:import namespace="8a22251b-d7e9-4f7e-a635-95108dcc56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Zaakceptowana"/>
                <xsd:element ref="ns2:Typposta" minOccurs="0"/>
                <xsd:element ref="ns2:Statu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c47dc4-7056-487a-b7a5-509242bc61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Tagi obrazów" ma:readOnly="false" ma:fieldId="{5cf76f15-5ced-4ddc-b409-7134ff3c332f}" ma:taxonomyMulti="true" ma:sspId="9ab1dae2-2b71-4a87-8035-e78768189fc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Zaakceptowana" ma:index="22" ma:displayName="Gotowe do publikacji" ma:default="0" ma:format="Dropdown" ma:internalName="Zaakceptowana">
      <xsd:simpleType>
        <xsd:restriction base="dms:Boolean"/>
      </xsd:simpleType>
    </xsd:element>
    <xsd:element name="Typposta" ma:index="23" nillable="true" ma:displayName="Typ posta" ma:format="Dropdown" ma:internalName="Typposta">
      <xsd:simpleType>
        <xsd:restriction base="dms:Choice">
          <xsd:enumeration value="Animacja"/>
          <xsd:enumeration value="Film"/>
          <xsd:enumeration value="Grafika"/>
        </xsd:restriction>
      </xsd:simpleType>
    </xsd:element>
    <xsd:element name="Status" ma:index="24" nillable="true" ma:displayName="Status" ma:format="Dropdown" ma:internalName="Status">
      <xsd:simpleType>
        <xsd:restriction base="dms:Choice">
          <xsd:enumeration value="W przygotowaniu"/>
          <xsd:enumeration value="Zaakceptowane"/>
        </xsd:restriction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2251b-d7e9-4f7e-a635-95108dcc567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9e537d08-9046-457d-b49e-0c4729a83dbf}" ma:internalName="TaxCatchAll" ma:showField="CatchAllData" ma:web="8a22251b-d7e9-4f7e-a635-95108dcc56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06470C-46DD-4174-8373-D23732F0EDB6}">
  <ds:schemaRefs>
    <ds:schemaRef ds:uri="21920adf-b60c-4812-b630-118a35225087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e27c3f70-a204-4efb-9fd8-f14598dff2d4"/>
    <ds:schemaRef ds:uri="http://schemas.microsoft.com/office/2006/metadata/properties"/>
    <ds:schemaRef ds:uri="http://www.w3.org/XML/1998/namespace"/>
    <ds:schemaRef ds:uri="aec47dc4-7056-487a-b7a5-509242bc6182"/>
    <ds:schemaRef ds:uri="8a22251b-d7e9-4f7e-a635-95108dcc5679"/>
  </ds:schemaRefs>
</ds:datastoreItem>
</file>

<file path=customXml/itemProps2.xml><?xml version="1.0" encoding="utf-8"?>
<ds:datastoreItem xmlns:ds="http://schemas.openxmlformats.org/officeDocument/2006/customXml" ds:itemID="{30150013-86BF-4066-8AAE-669ED3FB5C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403132-BD55-4A9C-9031-305A2C7B9D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c47dc4-7056-487a-b7a5-509242bc6182"/>
    <ds:schemaRef ds:uri="8a22251b-d7e9-4f7e-a635-95108dcc56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18</TotalTime>
  <Words>3306</Words>
  <Application>Microsoft Office PowerPoint</Application>
  <PresentationFormat>Widescreen</PresentationFormat>
  <Paragraphs>196</Paragraphs>
  <Slides>18</Slides>
  <Notes>18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White</vt:lpstr>
      <vt:lpstr>Nest!_presentation</vt:lpstr>
      <vt:lpstr>PowerPoint Presentation</vt:lpstr>
      <vt:lpstr>KONTEKST BIZNESOWY – DLACZEGO AI?</vt:lpstr>
      <vt:lpstr>CEL I ZAŁOŻENIA PROJEKTU </vt:lpstr>
      <vt:lpstr>PLAN I ETAPY PROJEKTU</vt:lpstr>
      <vt:lpstr>PowerPoint Presentation</vt:lpstr>
      <vt:lpstr>PIERWSZE WDROŻENIA</vt:lpstr>
      <vt:lpstr>EDUKACJA </vt:lpstr>
      <vt:lpstr>PUCHACZ – WEWNĘTRZNY ASYSTENT AI</vt:lpstr>
      <vt:lpstr>NESTSTORE</vt:lpstr>
      <vt:lpstr>AKTYWIZACJA PRACOWNIKÓW  </vt:lpstr>
      <vt:lpstr>EFEKTY KONKURSU</vt:lpstr>
      <vt:lpstr>KOMUNIKACJA I PROMOCJA </vt:lpstr>
      <vt:lpstr>REZULTATY</vt:lpstr>
      <vt:lpstr>TU I TERAZ</vt:lpstr>
      <vt:lpstr>CO  DALEJ?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luma-Schneider Magdalena</dc:creator>
  <cp:lastModifiedBy>Detko Monika</cp:lastModifiedBy>
  <cp:revision>5</cp:revision>
  <dcterms:created xsi:type="dcterms:W3CDTF">2025-09-24T15:05:40Z</dcterms:created>
  <dcterms:modified xsi:type="dcterms:W3CDTF">2026-02-09T13:2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d632b93-897b-4db0-8311-cb4c4411a688_Enabled">
    <vt:lpwstr>true</vt:lpwstr>
  </property>
  <property fmtid="{D5CDD505-2E9C-101B-9397-08002B2CF9AE}" pid="3" name="MSIP_Label_3d632b93-897b-4db0-8311-cb4c4411a688_SetDate">
    <vt:lpwstr>2025-09-24T15:06:36Z</vt:lpwstr>
  </property>
  <property fmtid="{D5CDD505-2E9C-101B-9397-08002B2CF9AE}" pid="4" name="MSIP_Label_3d632b93-897b-4db0-8311-cb4c4411a688_Method">
    <vt:lpwstr>Standard</vt:lpwstr>
  </property>
  <property fmtid="{D5CDD505-2E9C-101B-9397-08002B2CF9AE}" pid="5" name="MSIP_Label_3d632b93-897b-4db0-8311-cb4c4411a688_Name">
    <vt:lpwstr>C2 - WEWNĘTRZNE</vt:lpwstr>
  </property>
  <property fmtid="{D5CDD505-2E9C-101B-9397-08002B2CF9AE}" pid="6" name="MSIP_Label_3d632b93-897b-4db0-8311-cb4c4411a688_SiteId">
    <vt:lpwstr>91628b4b-459b-43ff-a456-6daeff7492eb</vt:lpwstr>
  </property>
  <property fmtid="{D5CDD505-2E9C-101B-9397-08002B2CF9AE}" pid="7" name="MSIP_Label_3d632b93-897b-4db0-8311-cb4c4411a688_ActionId">
    <vt:lpwstr>81387672-bfb0-4ff7-b68c-d1a41cb6d919</vt:lpwstr>
  </property>
  <property fmtid="{D5CDD505-2E9C-101B-9397-08002B2CF9AE}" pid="8" name="MSIP_Label_3d632b93-897b-4db0-8311-cb4c4411a688_ContentBits">
    <vt:lpwstr>2</vt:lpwstr>
  </property>
  <property fmtid="{D5CDD505-2E9C-101B-9397-08002B2CF9AE}" pid="9" name="MSIP_Label_3d632b93-897b-4db0-8311-cb4c4411a688_Tag">
    <vt:lpwstr>10, 3, 0, 1</vt:lpwstr>
  </property>
  <property fmtid="{D5CDD505-2E9C-101B-9397-08002B2CF9AE}" pid="10" name="ClassificationContentMarkingFooterLocations">
    <vt:lpwstr>White:8</vt:lpwstr>
  </property>
  <property fmtid="{D5CDD505-2E9C-101B-9397-08002B2CF9AE}" pid="11" name="ClassificationContentMarkingFooterText">
    <vt:lpwstr>C2 - DO UŻYTKU WEWNĘTRZNEGO</vt:lpwstr>
  </property>
  <property fmtid="{D5CDD505-2E9C-101B-9397-08002B2CF9AE}" pid="12" name="MediaServiceImageTags">
    <vt:lpwstr/>
  </property>
  <property fmtid="{D5CDD505-2E9C-101B-9397-08002B2CF9AE}" pid="13" name="ContentTypeId">
    <vt:lpwstr>0x0101002209721912E295449BC442C0F84651EB</vt:lpwstr>
  </property>
  <property fmtid="{D5CDD505-2E9C-101B-9397-08002B2CF9AE}" pid="14" name="ComplianceAssetId">
    <vt:lpwstr/>
  </property>
  <property fmtid="{D5CDD505-2E9C-101B-9397-08002B2CF9AE}" pid="15" name="_ExtendedDescription">
    <vt:lpwstr/>
  </property>
  <property fmtid="{D5CDD505-2E9C-101B-9397-08002B2CF9AE}" pid="16" name="TriggerFlowInfo">
    <vt:lpwstr/>
  </property>
  <property fmtid="{D5CDD505-2E9C-101B-9397-08002B2CF9AE}" pid="17" name="_dlc_DocIdItemGuid">
    <vt:lpwstr>3065ef36-0a1a-4a28-8f28-5c1dcc05c214</vt:lpwstr>
  </property>
</Properties>
</file>